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200" r:id="rId4"/>
    <p:sldMasterId id="2147484246" r:id="rId5"/>
    <p:sldMasterId id="2147484279" r:id="rId6"/>
    <p:sldMasterId id="2147484305" r:id="rId7"/>
    <p:sldMasterId id="2147484320" r:id="rId8"/>
    <p:sldMasterId id="2147484347" r:id="rId9"/>
  </p:sldMasterIdLst>
  <p:notesMasterIdLst>
    <p:notesMasterId r:id="rId31"/>
  </p:notesMasterIdLst>
  <p:handoutMasterIdLst>
    <p:handoutMasterId r:id="rId32"/>
  </p:handoutMasterIdLst>
  <p:sldIdLst>
    <p:sldId id="2147483112" r:id="rId10"/>
    <p:sldId id="2147483113" r:id="rId11"/>
    <p:sldId id="2147483114" r:id="rId12"/>
    <p:sldId id="2147482849" r:id="rId13"/>
    <p:sldId id="2147483105" r:id="rId14"/>
    <p:sldId id="2147483106" r:id="rId15"/>
    <p:sldId id="2147483107" r:id="rId16"/>
    <p:sldId id="280" r:id="rId17"/>
    <p:sldId id="2147483102" r:id="rId18"/>
    <p:sldId id="2147483103" r:id="rId19"/>
    <p:sldId id="2147480515" r:id="rId20"/>
    <p:sldId id="2147480536" r:id="rId21"/>
    <p:sldId id="2147480537" r:id="rId22"/>
    <p:sldId id="2147480538" r:id="rId23"/>
    <p:sldId id="2147480539" r:id="rId24"/>
    <p:sldId id="2147480540" r:id="rId25"/>
    <p:sldId id="2147480541" r:id="rId26"/>
    <p:sldId id="2147481341" r:id="rId27"/>
    <p:sldId id="2147481344" r:id="rId28"/>
    <p:sldId id="1027" r:id="rId29"/>
    <p:sldId id="2147483099" r:id="rId30"/>
  </p:sldIdLst>
  <p:sldSz cx="12192000" cy="6858000"/>
  <p:notesSz cx="6797675" cy="9926638"/>
  <p:embeddedFontLst>
    <p:embeddedFont>
      <p:font typeface="Microsoft Sans Serif" panose="020B0604020202020204" pitchFamily="34" charset="0"/>
      <p:regular r:id="rId33"/>
    </p:embeddedFont>
    <p:embeddedFont>
      <p:font typeface="Tw Cen MT" panose="020B0602020104020603" pitchFamily="34" charset="0"/>
      <p:regular r:id="rId34"/>
      <p:bold r:id="rId35"/>
      <p:italic r:id="rId36"/>
      <p:boldItalic r:id="rId37"/>
    </p:embeddedFont>
    <p:embeddedFont>
      <p:font typeface="Tw Cen MT Condensed" panose="020B0606020104020203" pitchFamily="34" charset="0"/>
      <p:regular r:id="rId38"/>
      <p:bold r:id="rId39"/>
    </p:embeddedFont>
    <p:embeddedFont>
      <p:font typeface="Ubuntu" panose="020B0504030602030204" pitchFamily="34" charset="0"/>
      <p:regular r:id="rId40"/>
      <p:bold r:id="rId41"/>
      <p:italic r:id="rId42"/>
      <p:boldItalic r:id="rId43"/>
    </p:embeddedFont>
    <p:embeddedFont>
      <p:font typeface="Ubuntu Light" panose="020B0304030602030204" pitchFamily="34" charset="0"/>
      <p:regular r:id="rId44"/>
      <p:italic r:id="rId45"/>
    </p:embeddedFont>
    <p:embeddedFont>
      <p:font typeface="Ubuntu Medium" panose="020B0604030602030204" pitchFamily="34" charset="0"/>
      <p:regular r:id="rId46"/>
      <p:italic r:id="rId47"/>
    </p:embeddedFont>
    <p:embeddedFont>
      <p:font typeface="Verdana" panose="020B0604030504040204" pitchFamily="34" charset="0"/>
      <p:regular r:id="rId48"/>
      <p:bold r:id="rId49"/>
      <p:italic r:id="rId50"/>
      <p:boldItalic r:id="rId51"/>
    </p:embeddedFont>
    <p:embeddedFont>
      <p:font typeface="Wingdings 3" panose="05040102010807070707" pitchFamily="18" charset="2"/>
      <p:regular r:id="rId52"/>
    </p:embeddedFont>
  </p:embeddedFontLst>
  <p:custDataLst>
    <p:tags r:id="rId5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14596B"/>
    <a:srgbClr val="616585"/>
    <a:srgbClr val="F6F6F6"/>
    <a:srgbClr val="005482"/>
    <a:srgbClr val="272936"/>
    <a:srgbClr val="003857"/>
    <a:srgbClr val="E6E6E6"/>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0F6379-F901-4DBD-B1C0-621E463A42B4}" v="58" dt="2025-05-26T12:34:58.0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guide orient="horz" pos="2886"/>
        <p:guide pos="5609"/>
        <p:guide pos="207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font" Target="fonts/font7.fntdata"/><Relationship Id="rId21" Type="http://schemas.openxmlformats.org/officeDocument/2006/relationships/slide" Target="slides/slide12.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font" Target="fonts/font15.fntdata"/><Relationship Id="rId50" Type="http://schemas.openxmlformats.org/officeDocument/2006/relationships/font" Target="fonts/font18.fntdata"/><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font" Target="fonts/font13.fntdata"/><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font" Target="fonts/font16.fntdata"/><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font" Target="fonts/font19.fntdata"/><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font" Target="fonts/font14.fntdata"/><Relationship Id="rId59"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font" Target="fonts/font9.fntdata"/><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4.fntdata"/><Relationship Id="rId49" Type="http://schemas.openxmlformats.org/officeDocument/2006/relationships/font" Target="fonts/font17.fntdata"/><Relationship Id="rId57" Type="http://schemas.openxmlformats.org/officeDocument/2006/relationships/theme" Target="theme/theme1.xml"/><Relationship Id="rId10" Type="http://schemas.openxmlformats.org/officeDocument/2006/relationships/slide" Target="slides/slide1.xml"/><Relationship Id="rId31" Type="http://schemas.openxmlformats.org/officeDocument/2006/relationships/notesMaster" Target="notesMasters/notesMaster1.xml"/><Relationship Id="rId44" Type="http://schemas.openxmlformats.org/officeDocument/2006/relationships/font" Target="fonts/font12.fntdata"/><Relationship Id="rId52" Type="http://schemas.openxmlformats.org/officeDocument/2006/relationships/font" Target="fonts/font20.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25/06/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25/06/2025</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a:t>Insert comments</a:t>
            </a:r>
            <a:endParaRPr lang="pt-BR"/>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3091076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6.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28.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16.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16.em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6.emf"/></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10.xml"/><Relationship Id="rId4" Type="http://schemas.openxmlformats.org/officeDocument/2006/relationships/image" Target="../media/image16.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3" Type="http://schemas.openxmlformats.org/officeDocument/2006/relationships/hyperlink" Target="http://www.facebook.com/capgemini" TargetMode="External"/><Relationship Id="rId7" Type="http://schemas.openxmlformats.org/officeDocument/2006/relationships/image" Target="../media/image10.png"/><Relationship Id="rId12" Type="http://schemas.openxmlformats.org/officeDocument/2006/relationships/hyperlink" Target="http://www.youtube.com/capgeminimedia"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1.png"/><Relationship Id="rId4" Type="http://schemas.openxmlformats.org/officeDocument/2006/relationships/image" Target="../media/image9.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4.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4.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6.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4.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4.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4.x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4.xml"/><Relationship Id="rId1" Type="http://schemas.openxmlformats.org/officeDocument/2006/relationships/tags" Target="../tags/tag5.xml"/><Relationship Id="rId5" Type="http://schemas.openxmlformats.org/officeDocument/2006/relationships/image" Target="../media/image16.emf"/><Relationship Id="rId4" Type="http://schemas.openxmlformats.org/officeDocument/2006/relationships/oleObject" Target="../embeddings/oleObject4.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3.png"/><Relationship Id="rId3" Type="http://schemas.openxmlformats.org/officeDocument/2006/relationships/image" Target="../media/image6.png"/><Relationship Id="rId7" Type="http://schemas.openxmlformats.org/officeDocument/2006/relationships/image" Target="../media/image14.png"/><Relationship Id="rId12" Type="http://schemas.openxmlformats.org/officeDocument/2006/relationships/image" Target="../media/image15.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 Id="rId14" Type="http://schemas.openxmlformats.org/officeDocument/2006/relationships/hyperlink" Target="http://www.capgemini.com/in-en" TargetMode="Externa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79218571"/>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4270426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542404351"/>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541372"/>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3701619040"/>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364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B0A5E-3FA6-B19F-1DBF-74026BF5D908}"/>
              </a:ext>
            </a:extLst>
          </p:cNvPr>
          <p:cNvSpPr>
            <a:spLocks noGrp="1"/>
          </p:cNvSpPr>
          <p:nvPr>
            <p:ph type="title"/>
          </p:nvPr>
        </p:nvSpPr>
        <p:spPr>
          <a:xfrm>
            <a:off x="315913" y="3070644"/>
            <a:ext cx="10364787" cy="716711"/>
          </a:xfrm>
        </p:spPr>
        <p:txBody>
          <a:bodyPr anchor="ctr"/>
          <a:lstStyle>
            <a:lvl1pPr>
              <a:defRPr kumimoji="0" lang="en-GB" sz="2600" b="0" i="0" u="none" strike="noStrike" kern="1200" cap="all" spc="0" normalizeH="0" baseline="0" noProof="0" dirty="0">
                <a:ln>
                  <a:noFill/>
                </a:ln>
                <a:solidFill>
                  <a:schemeClr val="bg1"/>
                </a:solidFill>
                <a:effectLst/>
                <a:uLnTx/>
                <a:uFillTx/>
                <a:latin typeface="+mj-lt"/>
                <a:ea typeface="+mj-ea"/>
                <a:cs typeface="+mj-cs"/>
              </a:defRPr>
            </a:lvl1pPr>
          </a:lstStyle>
          <a:p>
            <a:endParaRPr lang="en-GB"/>
          </a:p>
        </p:txBody>
      </p:sp>
    </p:spTree>
    <p:extLst>
      <p:ext uri="{BB962C8B-B14F-4D97-AF65-F5344CB8AC3E}">
        <p14:creationId xmlns:p14="http://schemas.microsoft.com/office/powerpoint/2010/main" val="12412809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ain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B0A5E-3FA6-B19F-1DBF-74026BF5D908}"/>
              </a:ext>
            </a:extLst>
          </p:cNvPr>
          <p:cNvSpPr>
            <a:spLocks noGrp="1"/>
          </p:cNvSpPr>
          <p:nvPr>
            <p:ph type="title"/>
          </p:nvPr>
        </p:nvSpPr>
        <p:spPr>
          <a:xfrm>
            <a:off x="404813" y="388188"/>
            <a:ext cx="10136187" cy="716711"/>
          </a:xfrm>
        </p:spPr>
        <p:txBody>
          <a:bodyPr anchor="t"/>
          <a:lstStyle>
            <a:lvl1pPr>
              <a:defRPr kumimoji="0" lang="en-GB" sz="2600" b="0" i="0" u="none" strike="noStrike" kern="1200" cap="all" spc="0" normalizeH="0" baseline="0" noProof="0" dirty="0">
                <a:ln>
                  <a:noFill/>
                </a:ln>
                <a:solidFill>
                  <a:schemeClr val="bg1"/>
                </a:solidFill>
                <a:effectLst/>
                <a:uLnTx/>
                <a:uFillTx/>
                <a:latin typeface="+mj-lt"/>
                <a:ea typeface="+mj-ea"/>
                <a:cs typeface="+mj-cs"/>
              </a:defRPr>
            </a:lvl1pPr>
          </a:lstStyle>
          <a:p>
            <a:endParaRPr lang="en-GB"/>
          </a:p>
        </p:txBody>
      </p:sp>
    </p:spTree>
    <p:extLst>
      <p:ext uri="{BB962C8B-B14F-4D97-AF65-F5344CB8AC3E}">
        <p14:creationId xmlns:p14="http://schemas.microsoft.com/office/powerpoint/2010/main" val="32359946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descr="A person climbing a rock">
            <a:extLst>
              <a:ext uri="{FF2B5EF4-FFF2-40B4-BE49-F238E27FC236}">
                <a16:creationId xmlns:a16="http://schemas.microsoft.com/office/drawing/2014/main" id="{0A8EB44D-A181-7414-3D63-C8EA999FF8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27600" y="2793600"/>
            <a:ext cx="4064400" cy="4064400"/>
          </a:xfrm>
          <a:prstGeom prst="rect">
            <a:avLst/>
          </a:prstGeom>
        </p:spPr>
      </p:pic>
      <p:sp>
        <p:nvSpPr>
          <p:cNvPr id="11" name="Rectangle 10">
            <a:extLst>
              <a:ext uri="{FF2B5EF4-FFF2-40B4-BE49-F238E27FC236}">
                <a16:creationId xmlns:a16="http://schemas.microsoft.com/office/drawing/2014/main" id="{B27934AD-9C21-B4F2-3674-EF9F575E9CD4}"/>
              </a:ext>
            </a:extLst>
          </p:cNvPr>
          <p:cNvSpPr/>
          <p:nvPr userDrawn="1"/>
        </p:nvSpPr>
        <p:spPr>
          <a:xfrm>
            <a:off x="8127000" y="6375613"/>
            <a:ext cx="4065600" cy="499534"/>
          </a:xfrm>
          <a:prstGeom prst="rect">
            <a:avLst/>
          </a:prstGeom>
          <a:gradFill flip="none" rotWithShape="1">
            <a:gsLst>
              <a:gs pos="50000">
                <a:schemeClr val="tx1">
                  <a:alpha val="40000"/>
                </a:schemeClr>
              </a:gs>
              <a:gs pos="0">
                <a:schemeClr val="tx1">
                  <a:alpha val="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p>
        </p:txBody>
      </p:sp>
      <p:pic>
        <p:nvPicPr>
          <p:cNvPr id="3" name="Picture 2" descr="A group of people around a table&#10;&#10;Description automatically generated">
            <a:extLst>
              <a:ext uri="{FF2B5EF4-FFF2-40B4-BE49-F238E27FC236}">
                <a16:creationId xmlns:a16="http://schemas.microsoft.com/office/drawing/2014/main" id="{0716CB06-A98F-EE85-C1C7-22D2321E27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 y="2793600"/>
            <a:ext cx="4064400" cy="4064400"/>
          </a:xfrm>
          <a:prstGeom prst="rect">
            <a:avLst/>
          </a:prstGeom>
        </p:spPr>
      </p:pic>
      <p:sp>
        <p:nvSpPr>
          <p:cNvPr id="10" name="Rectangle 9">
            <a:extLst>
              <a:ext uri="{FF2B5EF4-FFF2-40B4-BE49-F238E27FC236}">
                <a16:creationId xmlns:a16="http://schemas.microsoft.com/office/drawing/2014/main" id="{D790F743-9423-688A-F733-9DA744FD667B}"/>
              </a:ext>
            </a:extLst>
          </p:cNvPr>
          <p:cNvSpPr/>
          <p:nvPr userDrawn="1"/>
        </p:nvSpPr>
        <p:spPr>
          <a:xfrm>
            <a:off x="0" y="6358467"/>
            <a:ext cx="4065600" cy="499534"/>
          </a:xfrm>
          <a:prstGeom prst="rect">
            <a:avLst/>
          </a:prstGeom>
          <a:gradFill flip="none" rotWithShape="1">
            <a:gsLst>
              <a:gs pos="50000">
                <a:schemeClr val="tx1">
                  <a:alpha val="40000"/>
                </a:schemeClr>
              </a:gs>
              <a:gs pos="0">
                <a:schemeClr val="tx1">
                  <a:alpha val="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p>
        </p:txBody>
      </p:sp>
      <p:pic>
        <p:nvPicPr>
          <p:cNvPr id="4" name="Picture 3" descr="A group of tools on a table&#10;&#10;Description automatically generated">
            <a:extLst>
              <a:ext uri="{FF2B5EF4-FFF2-40B4-BE49-F238E27FC236}">
                <a16:creationId xmlns:a16="http://schemas.microsoft.com/office/drawing/2014/main" id="{2FD71F94-A028-53CE-1E11-D7353E0E17D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63200" y="1070047"/>
            <a:ext cx="4064400" cy="4064400"/>
          </a:xfrm>
          <a:prstGeom prst="rect">
            <a:avLst/>
          </a:prstGeom>
        </p:spPr>
      </p:pic>
      <p:sp>
        <p:nvSpPr>
          <p:cNvPr id="2" name="Title 1">
            <a:extLst>
              <a:ext uri="{FF2B5EF4-FFF2-40B4-BE49-F238E27FC236}">
                <a16:creationId xmlns:a16="http://schemas.microsoft.com/office/drawing/2014/main" id="{F2CE6071-41B1-A425-EE57-219E2B7AA84A}"/>
              </a:ext>
            </a:extLst>
          </p:cNvPr>
          <p:cNvSpPr>
            <a:spLocks noGrp="1"/>
          </p:cNvSpPr>
          <p:nvPr>
            <p:ph type="title"/>
          </p:nvPr>
        </p:nvSpPr>
        <p:spPr/>
        <p:txBody>
          <a:bodyPr/>
          <a:lstStyle/>
          <a:p>
            <a:r>
              <a:rPr lang="en-US"/>
              <a:t>Click to edit Master title style</a:t>
            </a:r>
          </a:p>
        </p:txBody>
      </p:sp>
      <p:sp>
        <p:nvSpPr>
          <p:cNvPr id="6" name="Rectangle 27">
            <a:extLst>
              <a:ext uri="{FF2B5EF4-FFF2-40B4-BE49-F238E27FC236}">
                <a16:creationId xmlns:a16="http://schemas.microsoft.com/office/drawing/2014/main" id="{72464F94-E17D-FF27-F245-9E0A0DEBD4FC}"/>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Gen AI Strategy Offer Deck | Nov 2023</a:t>
            </a:r>
          </a:p>
        </p:txBody>
      </p:sp>
      <p:sp>
        <p:nvSpPr>
          <p:cNvPr id="7" name="Retângulo 43">
            <a:extLst>
              <a:ext uri="{FF2B5EF4-FFF2-40B4-BE49-F238E27FC236}">
                <a16:creationId xmlns:a16="http://schemas.microsoft.com/office/drawing/2014/main" id="{647D20B6-A760-4589-4320-D67EAD742DE1}"/>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 name="Rectangle 27">
            <a:extLst>
              <a:ext uri="{FF2B5EF4-FFF2-40B4-BE49-F238E27FC236}">
                <a16:creationId xmlns:a16="http://schemas.microsoft.com/office/drawing/2014/main" id="{6E9E19E9-FE10-5CB8-46A3-474E8F4B4B3B}"/>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Company Confidential © Capgemini Invent 2023. All rights reserved  |</a:t>
            </a:r>
            <a:endParaRPr lang="en-GB" sz="700">
              <a:solidFill>
                <a:srgbClr val="A6A6A6"/>
              </a:solidFill>
              <a:latin typeface="Ubuntu" panose="020B0504030602030204" pitchFamily="34" charset="0"/>
              <a:cs typeface="Arial" panose="020B0604020202020204" pitchFamily="34" charset="0"/>
            </a:endParaRPr>
          </a:p>
        </p:txBody>
      </p:sp>
      <p:sp>
        <p:nvSpPr>
          <p:cNvPr id="9" name="Retângulo 43">
            <a:extLst>
              <a:ext uri="{FF2B5EF4-FFF2-40B4-BE49-F238E27FC236}">
                <a16:creationId xmlns:a16="http://schemas.microsoft.com/office/drawing/2014/main" id="{F7DB41B7-76BD-DE09-27FB-231334D55A3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77887494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Main Dark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5959B6-7F21-2EF7-CC94-960790A5BEB9}"/>
              </a:ext>
            </a:extLst>
          </p:cNvPr>
          <p:cNvSpPr/>
          <p:nvPr userDrawn="1"/>
        </p:nvSpPr>
        <p:spPr>
          <a:xfrm>
            <a:off x="0" y="0"/>
            <a:ext cx="12192000" cy="6858000"/>
          </a:xfrm>
          <a:prstGeom prst="rect">
            <a:avLst/>
          </a:prstGeom>
          <a:gradFill>
            <a:gsLst>
              <a:gs pos="0">
                <a:schemeClr val="accent4">
                  <a:lumMod val="90000"/>
                  <a:lumOff val="10000"/>
                  <a:alpha val="0"/>
                </a:schemeClr>
              </a:gs>
              <a:gs pos="50000">
                <a:schemeClr val="accent4">
                  <a:lumMod val="90000"/>
                  <a:lumOff val="10000"/>
                  <a:alpha val="50000"/>
                </a:schemeClr>
              </a:gs>
              <a:gs pos="100000">
                <a:srgbClr val="27293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p>
        </p:txBody>
      </p:sp>
      <p:sp>
        <p:nvSpPr>
          <p:cNvPr id="2" name="Title 1">
            <a:extLst>
              <a:ext uri="{FF2B5EF4-FFF2-40B4-BE49-F238E27FC236}">
                <a16:creationId xmlns:a16="http://schemas.microsoft.com/office/drawing/2014/main" id="{689B0A5E-3FA6-B19F-1DBF-74026BF5D908}"/>
              </a:ext>
            </a:extLst>
          </p:cNvPr>
          <p:cNvSpPr>
            <a:spLocks noGrp="1"/>
          </p:cNvSpPr>
          <p:nvPr>
            <p:ph type="title"/>
          </p:nvPr>
        </p:nvSpPr>
        <p:spPr>
          <a:xfrm>
            <a:off x="404813" y="388188"/>
            <a:ext cx="10136187" cy="716711"/>
          </a:xfrm>
        </p:spPr>
        <p:txBody>
          <a:bodyPr anchor="t"/>
          <a:lstStyle>
            <a:lvl1pPr>
              <a:defRPr kumimoji="0" lang="en-GB" sz="2600" b="0" i="0" u="none" strike="noStrike" kern="1200" cap="all" spc="0" normalizeH="0" baseline="0" noProof="0" dirty="0">
                <a:ln>
                  <a:noFill/>
                </a:ln>
                <a:solidFill>
                  <a:schemeClr val="bg1"/>
                </a:solidFill>
                <a:effectLst/>
                <a:uLnTx/>
                <a:uFillTx/>
                <a:latin typeface="+mj-lt"/>
                <a:ea typeface="+mj-ea"/>
                <a:cs typeface="+mj-cs"/>
              </a:defRPr>
            </a:lvl1pPr>
          </a:lstStyle>
          <a:p>
            <a:endParaRPr lang="en-GB"/>
          </a:p>
        </p:txBody>
      </p:sp>
    </p:spTree>
    <p:extLst>
      <p:ext uri="{BB962C8B-B14F-4D97-AF65-F5344CB8AC3E}">
        <p14:creationId xmlns:p14="http://schemas.microsoft.com/office/powerpoint/2010/main" val="39041935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Title and Content dark gre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790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28136069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clusion">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1792857929"/>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Title Slide 3 Full Picture">
    <p:bg>
      <p:bgPr>
        <a:solidFill>
          <a:schemeClr val="accent4"/>
        </a:solidFill>
        <a:effectLst/>
      </p:bgPr>
    </p:bg>
    <p:spTree>
      <p:nvGrpSpPr>
        <p:cNvPr id="1" name=""/>
        <p:cNvGrpSpPr/>
        <p:nvPr/>
      </p:nvGrpSpPr>
      <p:grpSpPr>
        <a:xfrm>
          <a:off x="0" y="0"/>
          <a:ext cx="0" cy="0"/>
          <a:chOff x="0" y="0"/>
          <a:chExt cx="0" cy="0"/>
        </a:xfrm>
      </p:grpSpPr>
      <p:pic>
        <p:nvPicPr>
          <p:cNvPr id="5" name="Picture 4" descr="A colorful structure with many vertical lines&#10;&#10;Description automatically generated with medium confidence">
            <a:extLst>
              <a:ext uri="{FF2B5EF4-FFF2-40B4-BE49-F238E27FC236}">
                <a16:creationId xmlns:a16="http://schemas.microsoft.com/office/drawing/2014/main" id="{A5B98346-D710-C7DD-20BF-7CC22829DD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C23C3C5F-EE73-570B-531A-D0C1AB632782}"/>
              </a:ext>
            </a:extLst>
          </p:cNvPr>
          <p:cNvSpPr/>
          <p:nvPr userDrawn="1"/>
        </p:nvSpPr>
        <p:spPr>
          <a:xfrm>
            <a:off x="0" y="0"/>
            <a:ext cx="12192000" cy="6858000"/>
          </a:xfrm>
          <a:prstGeom prst="rect">
            <a:avLst/>
          </a:prstGeom>
          <a:solidFill>
            <a:schemeClr val="tx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6"/>
            <a:ext cx="11386134" cy="307777"/>
          </a:xfrm>
          <a:prstGeom prst="rect">
            <a:avLst/>
          </a:prstGeo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6"/>
            <a:ext cx="11386134" cy="830997"/>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5054956"/>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3730751" y="1600200"/>
            <a:ext cx="8053261" cy="4736042"/>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3730752" y="676656"/>
            <a:ext cx="7616952" cy="716711"/>
          </a:xfrm>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21496855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9679897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Only Title Gra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404812" y="388188"/>
            <a:ext cx="11177587" cy="716711"/>
          </a:xfrm>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84167006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2_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nchor="t"/>
          <a:lstStyle>
            <a:lvl1pPr>
              <a:defRPr>
                <a:solidFill>
                  <a:schemeClr val="bg1"/>
                </a:solidFill>
              </a:defRPr>
            </a:lvl1pPr>
          </a:lstStyle>
          <a:p>
            <a:r>
              <a:rPr lang="en-US"/>
              <a:t>Click to edit Master title style</a:t>
            </a:r>
            <a:endParaRPr lang="de-DE"/>
          </a:p>
        </p:txBody>
      </p:sp>
      <p:grpSp>
        <p:nvGrpSpPr>
          <p:cNvPr id="2" name="Groupe 1">
            <a:extLst>
              <a:ext uri="{FF2B5EF4-FFF2-40B4-BE49-F238E27FC236}">
                <a16:creationId xmlns:a16="http://schemas.microsoft.com/office/drawing/2014/main" id="{2B005A01-1667-22AD-EA2E-F3280B3E59FB}"/>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4" name="Freeform 13">
              <a:extLst>
                <a:ext uri="{FF2B5EF4-FFF2-40B4-BE49-F238E27FC236}">
                  <a16:creationId xmlns:a16="http://schemas.microsoft.com/office/drawing/2014/main" id="{034029BF-7E9A-D348-6080-2C954563B15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a:extLst>
                <a:ext uri="{FF2B5EF4-FFF2-40B4-BE49-F238E27FC236}">
                  <a16:creationId xmlns:a16="http://schemas.microsoft.com/office/drawing/2014/main" id="{47CF22E1-94F4-45FF-1856-AE2319C17F64}"/>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 name="Rectangle 27">
            <a:extLst>
              <a:ext uri="{FF2B5EF4-FFF2-40B4-BE49-F238E27FC236}">
                <a16:creationId xmlns:a16="http://schemas.microsoft.com/office/drawing/2014/main" id="{3CF1C5FA-E098-4CF9-B309-9E3815761433}"/>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700" kern="1200">
                <a:solidFill>
                  <a:srgbClr val="A6A6A6"/>
                </a:solidFill>
                <a:latin typeface="Ubuntu" panose="020B0504030602030204" pitchFamily="34" charset="0"/>
                <a:ea typeface="+mn-ea"/>
                <a:cs typeface="Arial" panose="020B0604020202020204" pitchFamily="34" charset="0"/>
              </a:rPr>
              <a:t>DCX GABL Review</a:t>
            </a:r>
            <a:endParaRPr lang="en-US" sz="700" kern="1200">
              <a:solidFill>
                <a:srgbClr val="A6A6A6"/>
              </a:solidFill>
              <a:latin typeface="Ubuntu" panose="020B0504030602030204" pitchFamily="34" charset="0"/>
              <a:ea typeface="+mn-ea"/>
              <a:cs typeface="Arial" panose="020B0604020202020204" pitchFamily="34" charset="0"/>
            </a:endParaRPr>
          </a:p>
        </p:txBody>
      </p:sp>
      <p:sp>
        <p:nvSpPr>
          <p:cNvPr id="7" name="Rectangle 27">
            <a:extLst>
              <a:ext uri="{FF2B5EF4-FFF2-40B4-BE49-F238E27FC236}">
                <a16:creationId xmlns:a16="http://schemas.microsoft.com/office/drawing/2014/main" id="{1A0436EC-C664-ADCC-0CF4-287A35FD732E}"/>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4. All rights reserved  |</a:t>
            </a:r>
          </a:p>
        </p:txBody>
      </p:sp>
      <p:sp>
        <p:nvSpPr>
          <p:cNvPr id="8" name="Rectangle 43">
            <a:extLst>
              <a:ext uri="{FF2B5EF4-FFF2-40B4-BE49-F238E27FC236}">
                <a16:creationId xmlns:a16="http://schemas.microsoft.com/office/drawing/2014/main" id="{D8FC73B7-EEDC-F896-D9D8-4ADAFDF307F5}"/>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58345507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7" name="bg object 17"/>
          <p:cNvPicPr/>
          <p:nvPr/>
        </p:nvPicPr>
        <p:blipFill>
          <a:blip r:embed="rId2" cstate="print"/>
          <a:stretch>
            <a:fillRect/>
          </a:stretch>
        </p:blipFill>
        <p:spPr>
          <a:xfrm>
            <a:off x="624893" y="612679"/>
            <a:ext cx="2038365" cy="454596"/>
          </a:xfrm>
          <a:prstGeom prst="rect">
            <a:avLst/>
          </a:prstGeom>
        </p:spPr>
      </p:pic>
      <p:sp>
        <p:nvSpPr>
          <p:cNvPr id="2" name="Holder 2"/>
          <p:cNvSpPr>
            <a:spLocks noGrp="1"/>
          </p:cNvSpPr>
          <p:nvPr>
            <p:ph type="title"/>
          </p:nvPr>
        </p:nvSpPr>
        <p:spPr/>
        <p:txBody>
          <a:bodyPr lIns="0" tIns="0" rIns="0" bIns="0"/>
          <a:lstStyle>
            <a:lvl1pPr>
              <a:defRPr sz="1800" b="0" i="0">
                <a:solidFill>
                  <a:schemeClr val="bg1"/>
                </a:solidFill>
                <a:latin typeface="Microsoft Sans Serif"/>
                <a:cs typeface="Microsoft Sans Serif"/>
              </a:defRPr>
            </a:lvl1pPr>
          </a:lstStyle>
          <a:p>
            <a:endParaRPr/>
          </a:p>
        </p:txBody>
      </p:sp>
      <p:sp>
        <p:nvSpPr>
          <p:cNvPr id="3" name="Holder 3"/>
          <p:cNvSpPr>
            <a:spLocks noGrp="1"/>
          </p:cNvSpPr>
          <p:nvPr>
            <p:ph type="ftr" sz="quarter" idx="5"/>
          </p:nvPr>
        </p:nvSpPr>
        <p:spPr/>
        <p:txBody>
          <a:bodyPr lIns="0" tIns="0" rIns="0" bIns="0"/>
          <a:lstStyle>
            <a:lvl1pPr>
              <a:defRPr sz="700" b="0" i="0">
                <a:solidFill>
                  <a:srgbClr val="999999"/>
                </a:solidFill>
                <a:latin typeface="Microsoft Sans Serif"/>
                <a:cs typeface="Microsoft Sans Serif"/>
              </a:defRPr>
            </a:lvl1pPr>
          </a:lstStyle>
          <a:p>
            <a:pPr marL="12700">
              <a:lnSpc>
                <a:spcPct val="100000"/>
              </a:lnSpc>
              <a:spcBef>
                <a:spcPts val="50"/>
              </a:spcBef>
            </a:pPr>
            <a:r>
              <a:rPr spc="-45"/>
              <a:t>THE</a:t>
            </a:r>
            <a:r>
              <a:rPr spc="-15"/>
              <a:t> </a:t>
            </a:r>
            <a:r>
              <a:rPr spc="-50"/>
              <a:t>CX</a:t>
            </a:r>
            <a:r>
              <a:rPr spc="-10"/>
              <a:t> </a:t>
            </a:r>
            <a:r>
              <a:rPr spc="-30"/>
              <a:t>REVOLUTION:</a:t>
            </a:r>
            <a:r>
              <a:rPr spc="-10"/>
              <a:t> AN</a:t>
            </a:r>
            <a:r>
              <a:rPr spc="-15"/>
              <a:t> </a:t>
            </a:r>
            <a:r>
              <a:rPr spc="-40"/>
              <a:t>INTERVIEW</a:t>
            </a:r>
            <a:r>
              <a:rPr spc="-10"/>
              <a:t> ON </a:t>
            </a:r>
            <a:r>
              <a:rPr spc="-50"/>
              <a:t>GENERATIVE</a:t>
            </a:r>
            <a:r>
              <a:rPr spc="-15"/>
              <a:t> </a:t>
            </a:r>
            <a:r>
              <a:rPr spc="-20"/>
              <a:t>AI</a:t>
            </a:r>
            <a:r>
              <a:rPr spc="-10"/>
              <a:t> </a:t>
            </a:r>
            <a:r>
              <a:rPr spc="-35"/>
              <a:t>LEADERSHIP</a:t>
            </a:r>
            <a:r>
              <a:rPr spc="180"/>
              <a:t> </a:t>
            </a:r>
            <a:r>
              <a:t>I</a:t>
            </a:r>
            <a:r>
              <a:rPr spc="180"/>
              <a:t> </a:t>
            </a:r>
            <a:r>
              <a:t>Copyright</a:t>
            </a:r>
            <a:r>
              <a:rPr spc="-10"/>
              <a:t> </a:t>
            </a:r>
            <a:r>
              <a:rPr spc="60"/>
              <a:t>©</a:t>
            </a:r>
            <a:r>
              <a:rPr spc="-10"/>
              <a:t> 2023</a:t>
            </a:r>
            <a:r>
              <a:rPr spc="-15"/>
              <a:t> </a:t>
            </a:r>
            <a:r>
              <a:rPr spc="-10"/>
              <a:t>Capgemini. </a:t>
            </a:r>
            <a:r>
              <a:t>All</a:t>
            </a:r>
            <a:r>
              <a:rPr spc="-10"/>
              <a:t> </a:t>
            </a:r>
            <a:r>
              <a:t>rights</a:t>
            </a:r>
            <a:r>
              <a:rPr spc="-15"/>
              <a:t> </a:t>
            </a:r>
            <a:r>
              <a:rPr spc="-10"/>
              <a:t>reserved.</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5/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7" name="Picture 6" descr="A colorful circular object with many dots&#10;&#10;Description automatically generated with medium confidence">
            <a:extLst>
              <a:ext uri="{FF2B5EF4-FFF2-40B4-BE49-F238E27FC236}">
                <a16:creationId xmlns:a16="http://schemas.microsoft.com/office/drawing/2014/main" id="{60697A9E-B742-64C4-2FE4-C9B9990447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86564"/>
            <a:ext cx="12192000" cy="8883506"/>
          </a:xfrm>
          <a:prstGeom prst="rect">
            <a:avLst/>
          </a:prstGeom>
        </p:spPr>
      </p:pic>
    </p:spTree>
    <p:extLst>
      <p:ext uri="{BB962C8B-B14F-4D97-AF65-F5344CB8AC3E}">
        <p14:creationId xmlns:p14="http://schemas.microsoft.com/office/powerpoint/2010/main" val="31305048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p>
        </p:txBody>
      </p:sp>
      <p:sp>
        <p:nvSpPr>
          <p:cNvPr id="4" name="Date Placeholder 3"/>
          <p:cNvSpPr>
            <a:spLocks noGrp="1"/>
          </p:cNvSpPr>
          <p:nvPr>
            <p:ph type="dt" sz="half" idx="10"/>
          </p:nvPr>
        </p:nvSpPr>
        <p:spPr/>
        <p:txBody>
          <a:bodyPr/>
          <a:lstStyle>
            <a:lvl1pPr algn="l">
              <a:defRPr/>
            </a:lvl1pPr>
          </a:lstStyle>
          <a:p>
            <a:fld id="{7005E26E-BCB2-4FD5-8FD5-81A5EAE94C21}" type="datetime1">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67777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85C470-CD19-455C-B830-6D252EAD7FE5}" type="datetime1">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9713084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F85C43C-50D9-4F49-A136-0EFF292F93ED}" type="datetime1">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80325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B53B1A3-0AEF-4064-A724-D27D660C8653}" type="datetime1">
              <a:rPr lang="en-US" smtClean="0"/>
              <a:t>6/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3221731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285134"/>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59253478"/>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7D5D0F2-BF66-4A24-9384-A0129B196518}" type="datetime1">
              <a:rPr lang="en-US" smtClean="0"/>
              <a:t>6/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11240376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318A6C-4F6B-48D2-BDB0-D7413B3FDB0A}" type="datetime1">
              <a:rPr lang="en-US" smtClean="0"/>
              <a:t>6/25/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7914922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01ECED-6ECE-4989-B917-9D4D7E6D3C76}" type="datetime1">
              <a:rPr lang="en-US" smtClean="0"/>
              <a:t>6/25/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81585220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3B570E1-CB40-488E-8C6F-EF4211DFFCB0}" type="datetime1">
              <a:rPr lang="en-US" smtClean="0"/>
              <a:t>6/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198251645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1CEB6AF-9F5C-43BE-879E-CB9514111250}" type="datetime1">
              <a:rPr lang="en-US" smtClean="0"/>
              <a:t>6/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7E5644-1E61-4311-A31E-84CB9C7AA8A9}" type="slidenum">
              <a:rPr lang="en-US" dirty="0"/>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84702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C2E9B8-0487-42E4-B571-744A3D775783}" type="datetime1">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9419255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052E32D-1E84-43FD-8158-FFFE757EB0E8}" type="datetime1">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64242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lvl1pPr>
              <a:defRPr/>
            </a:lvl1pPr>
          </a:lstStyle>
          <a:p>
            <a:r>
              <a:rPr lang="en-US"/>
              <a:t>Click to edit Master title style</a:t>
            </a:r>
            <a:endParaRPr lang="de-DE"/>
          </a:p>
        </p:txBody>
      </p:sp>
    </p:spTree>
    <p:extLst>
      <p:ext uri="{BB962C8B-B14F-4D97-AF65-F5344CB8AC3E}">
        <p14:creationId xmlns:p14="http://schemas.microsoft.com/office/powerpoint/2010/main" val="24671221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285134"/>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773690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285134"/>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05166516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9923059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a:t>Click to edit Agenda</a:t>
            </a:r>
            <a:endParaRPr lang="en-GB"/>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06713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3605078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a:p>
        </p:txBody>
      </p:sp>
    </p:spTree>
    <p:extLst>
      <p:ext uri="{BB962C8B-B14F-4D97-AF65-F5344CB8AC3E}">
        <p14:creationId xmlns:p14="http://schemas.microsoft.com/office/powerpoint/2010/main" val="16959471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1444894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0277786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Divider Pag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35109389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0636851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3904396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fr-FR"/>
              <a:t>Modifiez le style du titre</a:t>
            </a:r>
            <a:endParaRPr lang="de-DE"/>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Tree>
    <p:extLst>
      <p:ext uri="{BB962C8B-B14F-4D97-AF65-F5344CB8AC3E}">
        <p14:creationId xmlns:p14="http://schemas.microsoft.com/office/powerpoint/2010/main" val="32399642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8419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066672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7431069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1689079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04156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568473638"/>
      </p:ext>
    </p:extLst>
  </p:cSld>
  <p:clrMapOvr>
    <a:masterClrMapping/>
  </p:clrMapOvr>
  <p:extLst>
    <p:ext uri="{DCECCB84-F9BA-43D5-87BE-67443E8EF086}">
      <p15:sldGuideLst xmlns:p15="http://schemas.microsoft.com/office/powerpoint/2012/main">
        <p15:guide id="1" pos="506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4">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2384429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8388101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fr-FR"/>
              <a:t>Modifiez le style du titre</a:t>
            </a:r>
            <a:endParaRPr lang="en-US"/>
          </a:p>
        </p:txBody>
      </p:sp>
    </p:spTree>
    <p:extLst>
      <p:ext uri="{BB962C8B-B14F-4D97-AF65-F5344CB8AC3E}">
        <p14:creationId xmlns:p14="http://schemas.microsoft.com/office/powerpoint/2010/main" val="296361983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fr-FR"/>
              <a:t>Modifiez le style du titre</a:t>
            </a:r>
            <a:endParaRPr lang="en-US"/>
          </a:p>
        </p:txBody>
      </p:sp>
    </p:spTree>
    <p:extLst>
      <p:ext uri="{BB962C8B-B14F-4D97-AF65-F5344CB8AC3E}">
        <p14:creationId xmlns:p14="http://schemas.microsoft.com/office/powerpoint/2010/main" val="28739037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6428109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3" name="Rectangle 2">
            <a:extLst>
              <a:ext uri="{FF2B5EF4-FFF2-40B4-BE49-F238E27FC236}">
                <a16:creationId xmlns:a16="http://schemas.microsoft.com/office/drawing/2014/main" id="{FA059EDE-AA65-E99E-B031-7606C3DE7CAF}"/>
              </a:ext>
            </a:extLst>
          </p:cNvPr>
          <p:cNvSpPr/>
          <p:nvPr userDrawn="1"/>
        </p:nvSpPr>
        <p:spPr>
          <a:xfrm>
            <a:off x="0" y="1052513"/>
            <a:ext cx="12192000" cy="5400675"/>
          </a:xfrm>
          <a:prstGeom prst="rect">
            <a:avLst/>
          </a:prstGeom>
          <a:solidFill>
            <a:schemeClr val="accent4">
              <a:lumMod val="90000"/>
              <a:lumOff val="1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Tree>
    <p:extLst>
      <p:ext uri="{BB962C8B-B14F-4D97-AF65-F5344CB8AC3E}">
        <p14:creationId xmlns:p14="http://schemas.microsoft.com/office/powerpoint/2010/main" val="31151085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3" name="Rectangle 2">
            <a:extLst>
              <a:ext uri="{FF2B5EF4-FFF2-40B4-BE49-F238E27FC236}">
                <a16:creationId xmlns:a16="http://schemas.microsoft.com/office/drawing/2014/main" id="{17BD50A2-D8B7-11F4-A07E-BC41AE8A9135}"/>
              </a:ext>
            </a:extLst>
          </p:cNvPr>
          <p:cNvSpPr/>
          <p:nvPr userDrawn="1"/>
        </p:nvSpPr>
        <p:spPr>
          <a:xfrm>
            <a:off x="0" y="1052513"/>
            <a:ext cx="12192000" cy="5400675"/>
          </a:xfrm>
          <a:prstGeom prst="rect">
            <a:avLst/>
          </a:prstGeom>
          <a:gradFill>
            <a:gsLst>
              <a:gs pos="0">
                <a:schemeClr val="accent4"/>
              </a:gs>
              <a:gs pos="100000">
                <a:schemeClr val="accent1"/>
              </a:gs>
            </a:gsLst>
            <a:lin ang="18900000" scaled="0"/>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Tree>
    <p:extLst>
      <p:ext uri="{BB962C8B-B14F-4D97-AF65-F5344CB8AC3E}">
        <p14:creationId xmlns:p14="http://schemas.microsoft.com/office/powerpoint/2010/main" val="2872233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5369830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buClrTx/>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323330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011212598"/>
      </p:ext>
    </p:extLst>
  </p:cSld>
  <p:clrMapOvr>
    <a:masterClrMapping/>
  </p:clrMapOvr>
  <p:extLst>
    <p:ext uri="{DCECCB84-F9BA-43D5-87BE-67443E8EF086}">
      <p15:sldGuideLst xmlns:p15="http://schemas.microsoft.com/office/powerpoint/2012/main">
        <p15:guide id="1" pos="50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70405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7321666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3133850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fr-FR"/>
              <a:t>Modifiez le style du titre</a:t>
            </a:r>
            <a:endParaRPr 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392124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Dark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9487937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8231405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897602"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280915"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64227"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9496054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whit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06310"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289687"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64227" y="557108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842618807"/>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87130123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9428660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14131444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92274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Conclusion">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054674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68396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170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9860087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7316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43155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1984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449913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8493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89918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48051643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2962472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46667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40050459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20291226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12005041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0770900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le Slide 3 Full Picture">
    <p:bg>
      <p:bgPr>
        <a:solidFill>
          <a:schemeClr val="accent4"/>
        </a:solidFill>
        <a:effectLst/>
      </p:bgPr>
    </p:bg>
    <p:spTree>
      <p:nvGrpSpPr>
        <p:cNvPr id="1" name=""/>
        <p:cNvGrpSpPr/>
        <p:nvPr/>
      </p:nvGrpSpPr>
      <p:grpSpPr>
        <a:xfrm>
          <a:off x="0" y="0"/>
          <a:ext cx="0" cy="0"/>
          <a:chOff x="0" y="0"/>
          <a:chExt cx="0" cy="0"/>
        </a:xfrm>
      </p:grpSpPr>
      <p:sp>
        <p:nvSpPr>
          <p:cNvPr id="7" name="Picture Placeholder 24">
            <a:extLst>
              <a:ext uri="{FF2B5EF4-FFF2-40B4-BE49-F238E27FC236}">
                <a16:creationId xmlns:a16="http://schemas.microsoft.com/office/drawing/2014/main" id="{AA5F3EBC-E5BB-4F23-8682-D1866F0D4F8F}"/>
              </a:ext>
            </a:extLst>
          </p:cNvPr>
          <p:cNvSpPr>
            <a:spLocks noGrp="1"/>
          </p:cNvSpPr>
          <p:nvPr>
            <p:ph type="pic" sz="quarter" idx="10" hasCustomPrompt="1"/>
          </p:nvPr>
        </p:nvSpPr>
        <p:spPr>
          <a:xfrm>
            <a:off x="0" y="0"/>
            <a:ext cx="12192000" cy="6858000"/>
          </a:xfrm>
          <a:custGeom>
            <a:avLst/>
            <a:gdLst>
              <a:gd name="connsiteX0" fmla="*/ 9343829 w 12192000"/>
              <a:gd name="connsiteY0" fmla="*/ 959868 h 6858000"/>
              <a:gd name="connsiteX1" fmla="*/ 9294981 w 12192000"/>
              <a:gd name="connsiteY1" fmla="*/ 1078731 h 6858000"/>
              <a:gd name="connsiteX2" fmla="*/ 9271643 w 12192000"/>
              <a:gd name="connsiteY2" fmla="*/ 1047794 h 6858000"/>
              <a:gd name="connsiteX3" fmla="*/ 9343829 w 12192000"/>
              <a:gd name="connsiteY3" fmla="*/ 959868 h 6858000"/>
              <a:gd name="connsiteX4" fmla="*/ 11404665 w 12192000"/>
              <a:gd name="connsiteY4" fmla="*/ 772073 h 6858000"/>
              <a:gd name="connsiteX5" fmla="*/ 11422576 w 12192000"/>
              <a:gd name="connsiteY5" fmla="*/ 775872 h 6858000"/>
              <a:gd name="connsiteX6" fmla="*/ 11435602 w 12192000"/>
              <a:gd name="connsiteY6" fmla="*/ 786185 h 6858000"/>
              <a:gd name="connsiteX7" fmla="*/ 11443743 w 12192000"/>
              <a:gd name="connsiteY7" fmla="*/ 801382 h 6858000"/>
              <a:gd name="connsiteX8" fmla="*/ 11446457 w 12192000"/>
              <a:gd name="connsiteY8" fmla="*/ 819836 h 6858000"/>
              <a:gd name="connsiteX9" fmla="*/ 11359074 w 12192000"/>
              <a:gd name="connsiteY9" fmla="*/ 819836 h 6858000"/>
              <a:gd name="connsiteX10" fmla="*/ 11363416 w 12192000"/>
              <a:gd name="connsiteY10" fmla="*/ 802467 h 6858000"/>
              <a:gd name="connsiteX11" fmla="*/ 11372100 w 12192000"/>
              <a:gd name="connsiteY11" fmla="*/ 787270 h 6858000"/>
              <a:gd name="connsiteX12" fmla="*/ 11385668 w 12192000"/>
              <a:gd name="connsiteY12" fmla="*/ 776415 h 6858000"/>
              <a:gd name="connsiteX13" fmla="*/ 11404665 w 12192000"/>
              <a:gd name="connsiteY13" fmla="*/ 772073 h 6858000"/>
              <a:gd name="connsiteX14" fmla="*/ 9493087 w 12192000"/>
              <a:gd name="connsiteY14" fmla="*/ 766103 h 6858000"/>
              <a:gd name="connsiteX15" fmla="*/ 9514797 w 12192000"/>
              <a:gd name="connsiteY15" fmla="*/ 799212 h 6858000"/>
              <a:gd name="connsiteX16" fmla="*/ 9467034 w 12192000"/>
              <a:gd name="connsiteY16" fmla="*/ 869227 h 6858000"/>
              <a:gd name="connsiteX17" fmla="*/ 9493087 w 12192000"/>
              <a:gd name="connsiteY17" fmla="*/ 766103 h 6858000"/>
              <a:gd name="connsiteX18" fmla="*/ 11119177 w 12192000"/>
              <a:gd name="connsiteY18" fmla="*/ 740594 h 6858000"/>
              <a:gd name="connsiteX19" fmla="*/ 11189735 w 12192000"/>
              <a:gd name="connsiteY19" fmla="*/ 924046 h 6858000"/>
              <a:gd name="connsiteX20" fmla="*/ 11213074 w 12192000"/>
              <a:gd name="connsiteY20" fmla="*/ 944670 h 6858000"/>
              <a:gd name="connsiteX21" fmla="*/ 11236955 w 12192000"/>
              <a:gd name="connsiteY21" fmla="*/ 944670 h 6858000"/>
              <a:gd name="connsiteX22" fmla="*/ 11314569 w 12192000"/>
              <a:gd name="connsiteY22" fmla="*/ 740594 h 6858000"/>
              <a:gd name="connsiteX23" fmla="*/ 11278747 w 12192000"/>
              <a:gd name="connsiteY23" fmla="*/ 740594 h 6858000"/>
              <a:gd name="connsiteX24" fmla="*/ 11257580 w 12192000"/>
              <a:gd name="connsiteY24" fmla="*/ 761219 h 6858000"/>
              <a:gd name="connsiteX25" fmla="*/ 11217416 w 12192000"/>
              <a:gd name="connsiteY25" fmla="*/ 876825 h 6858000"/>
              <a:gd name="connsiteX26" fmla="*/ 11175624 w 12192000"/>
              <a:gd name="connsiteY26" fmla="*/ 763390 h 6858000"/>
              <a:gd name="connsiteX27" fmla="*/ 11153913 w 12192000"/>
              <a:gd name="connsiteY27" fmla="*/ 740594 h 6858000"/>
              <a:gd name="connsiteX28" fmla="*/ 11130575 w 12192000"/>
              <a:gd name="connsiteY28" fmla="*/ 740594 h 6858000"/>
              <a:gd name="connsiteX29" fmla="*/ 10865711 w 12192000"/>
              <a:gd name="connsiteY29" fmla="*/ 740051 h 6858000"/>
              <a:gd name="connsiteX30" fmla="*/ 10865711 w 12192000"/>
              <a:gd name="connsiteY30" fmla="*/ 910476 h 6858000"/>
              <a:gd name="connsiteX31" fmla="*/ 10899904 w 12192000"/>
              <a:gd name="connsiteY31" fmla="*/ 944670 h 6858000"/>
              <a:gd name="connsiteX32" fmla="*/ 10912930 w 12192000"/>
              <a:gd name="connsiteY32" fmla="*/ 944670 h 6858000"/>
              <a:gd name="connsiteX33" fmla="*/ 10912930 w 12192000"/>
              <a:gd name="connsiteY33" fmla="*/ 771531 h 6858000"/>
              <a:gd name="connsiteX34" fmla="*/ 10881993 w 12192000"/>
              <a:gd name="connsiteY34" fmla="*/ 740051 h 6858000"/>
              <a:gd name="connsiteX35" fmla="*/ 11599515 w 12192000"/>
              <a:gd name="connsiteY35" fmla="*/ 735166 h 6858000"/>
              <a:gd name="connsiteX36" fmla="*/ 11550667 w 12192000"/>
              <a:gd name="connsiteY36" fmla="*/ 738965 h 6858000"/>
              <a:gd name="connsiteX37" fmla="*/ 11514845 w 12192000"/>
              <a:gd name="connsiteY37" fmla="*/ 746563 h 6858000"/>
              <a:gd name="connsiteX38" fmla="*/ 11514845 w 12192000"/>
              <a:gd name="connsiteY38" fmla="*/ 918617 h 6858000"/>
              <a:gd name="connsiteX39" fmla="*/ 11514845 w 12192000"/>
              <a:gd name="connsiteY39" fmla="*/ 924045 h 6858000"/>
              <a:gd name="connsiteX40" fmla="*/ 11536012 w 12192000"/>
              <a:gd name="connsiteY40" fmla="*/ 945212 h 6858000"/>
              <a:gd name="connsiteX41" fmla="*/ 11536555 w 12192000"/>
              <a:gd name="connsiteY41" fmla="*/ 945212 h 6858000"/>
              <a:gd name="connsiteX42" fmla="*/ 11562607 w 12192000"/>
              <a:gd name="connsiteY42" fmla="*/ 945212 h 6858000"/>
              <a:gd name="connsiteX43" fmla="*/ 11562607 w 12192000"/>
              <a:gd name="connsiteY43" fmla="*/ 779129 h 6858000"/>
              <a:gd name="connsiteX44" fmla="*/ 11577261 w 12192000"/>
              <a:gd name="connsiteY44" fmla="*/ 776958 h 6858000"/>
              <a:gd name="connsiteX45" fmla="*/ 11596258 w 12192000"/>
              <a:gd name="connsiteY45" fmla="*/ 775872 h 6858000"/>
              <a:gd name="connsiteX46" fmla="*/ 11616883 w 12192000"/>
              <a:gd name="connsiteY46" fmla="*/ 779129 h 6858000"/>
              <a:gd name="connsiteX47" fmla="*/ 11630451 w 12192000"/>
              <a:gd name="connsiteY47" fmla="*/ 789441 h 6858000"/>
              <a:gd name="connsiteX48" fmla="*/ 11637507 w 12192000"/>
              <a:gd name="connsiteY48" fmla="*/ 808437 h 6858000"/>
              <a:gd name="connsiteX49" fmla="*/ 11639678 w 12192000"/>
              <a:gd name="connsiteY49" fmla="*/ 836661 h 6858000"/>
              <a:gd name="connsiteX50" fmla="*/ 11639678 w 12192000"/>
              <a:gd name="connsiteY50" fmla="*/ 918074 h 6858000"/>
              <a:gd name="connsiteX51" fmla="*/ 11639678 w 12192000"/>
              <a:gd name="connsiteY51" fmla="*/ 923502 h 6858000"/>
              <a:gd name="connsiteX52" fmla="*/ 11660845 w 12192000"/>
              <a:gd name="connsiteY52" fmla="*/ 944669 h 6858000"/>
              <a:gd name="connsiteX53" fmla="*/ 11687441 w 12192000"/>
              <a:gd name="connsiteY53" fmla="*/ 944669 h 6858000"/>
              <a:gd name="connsiteX54" fmla="*/ 11687441 w 12192000"/>
              <a:gd name="connsiteY54" fmla="*/ 829605 h 6858000"/>
              <a:gd name="connsiteX55" fmla="*/ 11682013 w 12192000"/>
              <a:gd name="connsiteY55" fmla="*/ 791069 h 6858000"/>
              <a:gd name="connsiteX56" fmla="*/ 11667902 w 12192000"/>
              <a:gd name="connsiteY56" fmla="*/ 761218 h 6858000"/>
              <a:gd name="connsiteX57" fmla="*/ 11641306 w 12192000"/>
              <a:gd name="connsiteY57" fmla="*/ 742221 h 6858000"/>
              <a:gd name="connsiteX58" fmla="*/ 11599515 w 12192000"/>
              <a:gd name="connsiteY58" fmla="*/ 735166 h 6858000"/>
              <a:gd name="connsiteX59" fmla="*/ 11026367 w 12192000"/>
              <a:gd name="connsiteY59" fmla="*/ 735166 h 6858000"/>
              <a:gd name="connsiteX60" fmla="*/ 10977519 w 12192000"/>
              <a:gd name="connsiteY60" fmla="*/ 738965 h 6858000"/>
              <a:gd name="connsiteX61" fmla="*/ 10941697 w 12192000"/>
              <a:gd name="connsiteY61" fmla="*/ 746563 h 6858000"/>
              <a:gd name="connsiteX62" fmla="*/ 10941697 w 12192000"/>
              <a:gd name="connsiteY62" fmla="*/ 918617 h 6858000"/>
              <a:gd name="connsiteX63" fmla="*/ 10941697 w 12192000"/>
              <a:gd name="connsiteY63" fmla="*/ 924045 h 6858000"/>
              <a:gd name="connsiteX64" fmla="*/ 10962864 w 12192000"/>
              <a:gd name="connsiteY64" fmla="*/ 945212 h 6858000"/>
              <a:gd name="connsiteX65" fmla="*/ 10963407 w 12192000"/>
              <a:gd name="connsiteY65" fmla="*/ 945212 h 6858000"/>
              <a:gd name="connsiteX66" fmla="*/ 10989459 w 12192000"/>
              <a:gd name="connsiteY66" fmla="*/ 945212 h 6858000"/>
              <a:gd name="connsiteX67" fmla="*/ 10989459 w 12192000"/>
              <a:gd name="connsiteY67" fmla="*/ 779129 h 6858000"/>
              <a:gd name="connsiteX68" fmla="*/ 11004114 w 12192000"/>
              <a:gd name="connsiteY68" fmla="*/ 776958 h 6858000"/>
              <a:gd name="connsiteX69" fmla="*/ 11023110 w 12192000"/>
              <a:gd name="connsiteY69" fmla="*/ 775872 h 6858000"/>
              <a:gd name="connsiteX70" fmla="*/ 11043735 w 12192000"/>
              <a:gd name="connsiteY70" fmla="*/ 779129 h 6858000"/>
              <a:gd name="connsiteX71" fmla="*/ 11057303 w 12192000"/>
              <a:gd name="connsiteY71" fmla="*/ 789441 h 6858000"/>
              <a:gd name="connsiteX72" fmla="*/ 11064359 w 12192000"/>
              <a:gd name="connsiteY72" fmla="*/ 808437 h 6858000"/>
              <a:gd name="connsiteX73" fmla="*/ 11066530 w 12192000"/>
              <a:gd name="connsiteY73" fmla="*/ 836661 h 6858000"/>
              <a:gd name="connsiteX74" fmla="*/ 11066530 w 12192000"/>
              <a:gd name="connsiteY74" fmla="*/ 918074 h 6858000"/>
              <a:gd name="connsiteX75" fmla="*/ 11066530 w 12192000"/>
              <a:gd name="connsiteY75" fmla="*/ 923502 h 6858000"/>
              <a:gd name="connsiteX76" fmla="*/ 11087697 w 12192000"/>
              <a:gd name="connsiteY76" fmla="*/ 944669 h 6858000"/>
              <a:gd name="connsiteX77" fmla="*/ 11114293 w 12192000"/>
              <a:gd name="connsiteY77" fmla="*/ 944669 h 6858000"/>
              <a:gd name="connsiteX78" fmla="*/ 11114293 w 12192000"/>
              <a:gd name="connsiteY78" fmla="*/ 829605 h 6858000"/>
              <a:gd name="connsiteX79" fmla="*/ 11108865 w 12192000"/>
              <a:gd name="connsiteY79" fmla="*/ 791069 h 6858000"/>
              <a:gd name="connsiteX80" fmla="*/ 11094754 w 12192000"/>
              <a:gd name="connsiteY80" fmla="*/ 761218 h 6858000"/>
              <a:gd name="connsiteX81" fmla="*/ 11068158 w 12192000"/>
              <a:gd name="connsiteY81" fmla="*/ 742221 h 6858000"/>
              <a:gd name="connsiteX82" fmla="*/ 11026367 w 12192000"/>
              <a:gd name="connsiteY82" fmla="*/ 735166 h 6858000"/>
              <a:gd name="connsiteX83" fmla="*/ 11405208 w 12192000"/>
              <a:gd name="connsiteY83" fmla="*/ 732995 h 6858000"/>
              <a:gd name="connsiteX84" fmla="*/ 11369929 w 12192000"/>
              <a:gd name="connsiteY84" fmla="*/ 740050 h 6858000"/>
              <a:gd name="connsiteX85" fmla="*/ 11339535 w 12192000"/>
              <a:gd name="connsiteY85" fmla="*/ 760133 h 6858000"/>
              <a:gd name="connsiteX86" fmla="*/ 11318367 w 12192000"/>
              <a:gd name="connsiteY86" fmla="*/ 793783 h 6858000"/>
              <a:gd name="connsiteX87" fmla="*/ 11310226 w 12192000"/>
              <a:gd name="connsiteY87" fmla="*/ 841003 h 6858000"/>
              <a:gd name="connsiteX88" fmla="*/ 11316739 w 12192000"/>
              <a:gd name="connsiteY88" fmla="*/ 882252 h 6858000"/>
              <a:gd name="connsiteX89" fmla="*/ 11335735 w 12192000"/>
              <a:gd name="connsiteY89" fmla="*/ 915903 h 6858000"/>
              <a:gd name="connsiteX90" fmla="*/ 11368300 w 12192000"/>
              <a:gd name="connsiteY90" fmla="*/ 938156 h 6858000"/>
              <a:gd name="connsiteX91" fmla="*/ 11414977 w 12192000"/>
              <a:gd name="connsiteY91" fmla="*/ 946297 h 6858000"/>
              <a:gd name="connsiteX92" fmla="*/ 11435602 w 12192000"/>
              <a:gd name="connsiteY92" fmla="*/ 945212 h 6858000"/>
              <a:gd name="connsiteX93" fmla="*/ 11454598 w 12192000"/>
              <a:gd name="connsiteY93" fmla="*/ 942498 h 6858000"/>
              <a:gd name="connsiteX94" fmla="*/ 11470338 w 12192000"/>
              <a:gd name="connsiteY94" fmla="*/ 938699 h 6858000"/>
              <a:gd name="connsiteX95" fmla="*/ 11481193 w 12192000"/>
              <a:gd name="connsiteY95" fmla="*/ 934357 h 6858000"/>
              <a:gd name="connsiteX96" fmla="*/ 11477937 w 12192000"/>
              <a:gd name="connsiteY96" fmla="*/ 913190 h 6858000"/>
              <a:gd name="connsiteX97" fmla="*/ 11459483 w 12192000"/>
              <a:gd name="connsiteY97" fmla="*/ 900706 h 6858000"/>
              <a:gd name="connsiteX98" fmla="*/ 11452970 w 12192000"/>
              <a:gd name="connsiteY98" fmla="*/ 902334 h 6858000"/>
              <a:gd name="connsiteX99" fmla="*/ 11421490 w 12192000"/>
              <a:gd name="connsiteY99" fmla="*/ 905591 h 6858000"/>
              <a:gd name="connsiteX100" fmla="*/ 11376984 w 12192000"/>
              <a:gd name="connsiteY100" fmla="*/ 892022 h 6858000"/>
              <a:gd name="connsiteX101" fmla="*/ 11359617 w 12192000"/>
              <a:gd name="connsiteY101" fmla="*/ 854029 h 6858000"/>
              <a:gd name="connsiteX102" fmla="*/ 11493677 w 12192000"/>
              <a:gd name="connsiteY102" fmla="*/ 854029 h 6858000"/>
              <a:gd name="connsiteX103" fmla="*/ 11494219 w 12192000"/>
              <a:gd name="connsiteY103" fmla="*/ 845345 h 6858000"/>
              <a:gd name="connsiteX104" fmla="*/ 11494219 w 12192000"/>
              <a:gd name="connsiteY104" fmla="*/ 836661 h 6858000"/>
              <a:gd name="connsiteX105" fmla="*/ 11470881 w 12192000"/>
              <a:gd name="connsiteY105" fmla="*/ 759047 h 6858000"/>
              <a:gd name="connsiteX106" fmla="*/ 11405208 w 12192000"/>
              <a:gd name="connsiteY106" fmla="*/ 732995 h 6858000"/>
              <a:gd name="connsiteX107" fmla="*/ 11753113 w 12192000"/>
              <a:gd name="connsiteY107" fmla="*/ 676006 h 6858000"/>
              <a:gd name="connsiteX108" fmla="*/ 11726518 w 12192000"/>
              <a:gd name="connsiteY108" fmla="*/ 680348 h 6858000"/>
              <a:gd name="connsiteX109" fmla="*/ 11705894 w 12192000"/>
              <a:gd name="connsiteY109" fmla="*/ 704229 h 6858000"/>
              <a:gd name="connsiteX110" fmla="*/ 11705894 w 12192000"/>
              <a:gd name="connsiteY110" fmla="*/ 860543 h 6858000"/>
              <a:gd name="connsiteX111" fmla="*/ 11709150 w 12192000"/>
              <a:gd name="connsiteY111" fmla="*/ 896907 h 6858000"/>
              <a:gd name="connsiteX112" fmla="*/ 11721091 w 12192000"/>
              <a:gd name="connsiteY112" fmla="*/ 924045 h 6858000"/>
              <a:gd name="connsiteX113" fmla="*/ 11744429 w 12192000"/>
              <a:gd name="connsiteY113" fmla="*/ 940870 h 6858000"/>
              <a:gd name="connsiteX114" fmla="*/ 11780793 w 12192000"/>
              <a:gd name="connsiteY114" fmla="*/ 946840 h 6858000"/>
              <a:gd name="connsiteX115" fmla="*/ 11812273 w 12192000"/>
              <a:gd name="connsiteY115" fmla="*/ 943041 h 6858000"/>
              <a:gd name="connsiteX116" fmla="*/ 11818786 w 12192000"/>
              <a:gd name="connsiteY116" fmla="*/ 941413 h 6858000"/>
              <a:gd name="connsiteX117" fmla="*/ 11830726 w 12192000"/>
              <a:gd name="connsiteY117" fmla="*/ 921874 h 6858000"/>
              <a:gd name="connsiteX118" fmla="*/ 11825841 w 12192000"/>
              <a:gd name="connsiteY118" fmla="*/ 898535 h 6858000"/>
              <a:gd name="connsiteX119" fmla="*/ 11810102 w 12192000"/>
              <a:gd name="connsiteY119" fmla="*/ 903420 h 6858000"/>
              <a:gd name="connsiteX120" fmla="*/ 11787306 w 12192000"/>
              <a:gd name="connsiteY120" fmla="*/ 906134 h 6858000"/>
              <a:gd name="connsiteX121" fmla="*/ 11760711 w 12192000"/>
              <a:gd name="connsiteY121" fmla="*/ 895821 h 6858000"/>
              <a:gd name="connsiteX122" fmla="*/ 11753113 w 12192000"/>
              <a:gd name="connsiteY122" fmla="*/ 860543 h 6858000"/>
              <a:gd name="connsiteX123" fmla="*/ 11753113 w 12192000"/>
              <a:gd name="connsiteY123" fmla="*/ 777501 h 6858000"/>
              <a:gd name="connsiteX124" fmla="*/ 11804674 w 12192000"/>
              <a:gd name="connsiteY124" fmla="*/ 777501 h 6858000"/>
              <a:gd name="connsiteX125" fmla="*/ 11825841 w 12192000"/>
              <a:gd name="connsiteY125" fmla="*/ 756334 h 6858000"/>
              <a:gd name="connsiteX126" fmla="*/ 11825841 w 12192000"/>
              <a:gd name="connsiteY126" fmla="*/ 739508 h 6858000"/>
              <a:gd name="connsiteX127" fmla="*/ 11753113 w 12192000"/>
              <a:gd name="connsiteY127" fmla="*/ 739508 h 6858000"/>
              <a:gd name="connsiteX128" fmla="*/ 10315900 w 12192000"/>
              <a:gd name="connsiteY128" fmla="*/ 658094 h 6858000"/>
              <a:gd name="connsiteX129" fmla="*/ 10292562 w 12192000"/>
              <a:gd name="connsiteY129" fmla="*/ 684147 h 6858000"/>
              <a:gd name="connsiteX130" fmla="*/ 10315900 w 12192000"/>
              <a:gd name="connsiteY130" fmla="*/ 708028 h 6858000"/>
              <a:gd name="connsiteX131" fmla="*/ 10339238 w 12192000"/>
              <a:gd name="connsiteY131" fmla="*/ 681976 h 6858000"/>
              <a:gd name="connsiteX132" fmla="*/ 10315900 w 12192000"/>
              <a:gd name="connsiteY132" fmla="*/ 658094 h 6858000"/>
              <a:gd name="connsiteX133" fmla="*/ 10889050 w 12192000"/>
              <a:gd name="connsiteY133" fmla="*/ 651039 h 6858000"/>
              <a:gd name="connsiteX134" fmla="*/ 10868425 w 12192000"/>
              <a:gd name="connsiteY134" fmla="*/ 658637 h 6858000"/>
              <a:gd name="connsiteX135" fmla="*/ 10859741 w 12192000"/>
              <a:gd name="connsiteY135" fmla="*/ 680348 h 6858000"/>
              <a:gd name="connsiteX136" fmla="*/ 10868425 w 12192000"/>
              <a:gd name="connsiteY136" fmla="*/ 701515 h 6858000"/>
              <a:gd name="connsiteX137" fmla="*/ 10889050 w 12192000"/>
              <a:gd name="connsiteY137" fmla="*/ 709114 h 6858000"/>
              <a:gd name="connsiteX138" fmla="*/ 10909132 w 12192000"/>
              <a:gd name="connsiteY138" fmla="*/ 701515 h 6858000"/>
              <a:gd name="connsiteX139" fmla="*/ 10917816 w 12192000"/>
              <a:gd name="connsiteY139" fmla="*/ 680348 h 6858000"/>
              <a:gd name="connsiteX140" fmla="*/ 10909132 w 12192000"/>
              <a:gd name="connsiteY140" fmla="*/ 658637 h 6858000"/>
              <a:gd name="connsiteX141" fmla="*/ 10889050 w 12192000"/>
              <a:gd name="connsiteY141" fmla="*/ 651039 h 6858000"/>
              <a:gd name="connsiteX142" fmla="*/ 9964195 w 12192000"/>
              <a:gd name="connsiteY142" fmla="*/ 647783 h 6858000"/>
              <a:gd name="connsiteX143" fmla="*/ 9938686 w 12192000"/>
              <a:gd name="connsiteY143" fmla="*/ 674921 h 6858000"/>
              <a:gd name="connsiteX144" fmla="*/ 9964195 w 12192000"/>
              <a:gd name="connsiteY144" fmla="*/ 700431 h 6858000"/>
              <a:gd name="connsiteX145" fmla="*/ 9988077 w 12192000"/>
              <a:gd name="connsiteY145" fmla="*/ 673293 h 6858000"/>
              <a:gd name="connsiteX146" fmla="*/ 9964195 w 12192000"/>
              <a:gd name="connsiteY146" fmla="*/ 647783 h 6858000"/>
              <a:gd name="connsiteX147" fmla="*/ 8724004 w 12192000"/>
              <a:gd name="connsiteY147" fmla="*/ 623359 h 6858000"/>
              <a:gd name="connsiteX148" fmla="*/ 8576918 w 12192000"/>
              <a:gd name="connsiteY148" fmla="*/ 804096 h 6858000"/>
              <a:gd name="connsiteX149" fmla="*/ 8698495 w 12192000"/>
              <a:gd name="connsiteY149" fmla="*/ 962039 h 6858000"/>
              <a:gd name="connsiteX150" fmla="*/ 8815187 w 12192000"/>
              <a:gd name="connsiteY150" fmla="*/ 888766 h 6858000"/>
              <a:gd name="connsiteX151" fmla="*/ 8872176 w 12192000"/>
              <a:gd name="connsiteY151" fmla="*/ 947927 h 6858000"/>
              <a:gd name="connsiteX152" fmla="*/ 8941105 w 12192000"/>
              <a:gd name="connsiteY152" fmla="*/ 895822 h 6858000"/>
              <a:gd name="connsiteX153" fmla="*/ 8991582 w 12192000"/>
              <a:gd name="connsiteY153" fmla="*/ 947927 h 6858000"/>
              <a:gd name="connsiteX154" fmla="*/ 9036088 w 12192000"/>
              <a:gd name="connsiteY154" fmla="*/ 922960 h 6858000"/>
              <a:gd name="connsiteX155" fmla="*/ 9088192 w 12192000"/>
              <a:gd name="connsiteY155" fmla="*/ 1080902 h 6858000"/>
              <a:gd name="connsiteX156" fmla="*/ 9075708 w 12192000"/>
              <a:gd name="connsiteY156" fmla="*/ 948469 h 6858000"/>
              <a:gd name="connsiteX157" fmla="*/ 9125099 w 12192000"/>
              <a:gd name="connsiteY157" fmla="*/ 771531 h 6858000"/>
              <a:gd name="connsiteX158" fmla="*/ 9151694 w 12192000"/>
              <a:gd name="connsiteY158" fmla="*/ 824179 h 6858000"/>
              <a:gd name="connsiteX159" fmla="*/ 9146810 w 12192000"/>
              <a:gd name="connsiteY159" fmla="*/ 870313 h 6858000"/>
              <a:gd name="connsiteX160" fmla="*/ 9086021 w 12192000"/>
              <a:gd name="connsiteY160" fmla="*/ 930016 h 6858000"/>
              <a:gd name="connsiteX161" fmla="*/ 9109359 w 12192000"/>
              <a:gd name="connsiteY161" fmla="*/ 948469 h 6858000"/>
              <a:gd name="connsiteX162" fmla="*/ 9183717 w 12192000"/>
              <a:gd name="connsiteY162" fmla="*/ 875198 h 6858000"/>
              <a:gd name="connsiteX163" fmla="*/ 9228223 w 12192000"/>
              <a:gd name="connsiteY163" fmla="*/ 841547 h 6858000"/>
              <a:gd name="connsiteX164" fmla="*/ 9227680 w 12192000"/>
              <a:gd name="connsiteY164" fmla="*/ 856201 h 6858000"/>
              <a:gd name="connsiteX165" fmla="*/ 9281955 w 12192000"/>
              <a:gd name="connsiteY165" fmla="*/ 932730 h 6858000"/>
              <a:gd name="connsiteX166" fmla="*/ 9341658 w 12192000"/>
              <a:gd name="connsiteY166" fmla="*/ 886595 h 6858000"/>
              <a:gd name="connsiteX167" fmla="*/ 9343286 w 12192000"/>
              <a:gd name="connsiteY167" fmla="*/ 931101 h 6858000"/>
              <a:gd name="connsiteX168" fmla="*/ 9231479 w 12192000"/>
              <a:gd name="connsiteY168" fmla="*/ 1049422 h 6858000"/>
              <a:gd name="connsiteX169" fmla="*/ 9290639 w 12192000"/>
              <a:gd name="connsiteY169" fmla="*/ 1111839 h 6858000"/>
              <a:gd name="connsiteX170" fmla="*/ 9381822 w 12192000"/>
              <a:gd name="connsiteY170" fmla="*/ 943585 h 6858000"/>
              <a:gd name="connsiteX171" fmla="*/ 9444239 w 12192000"/>
              <a:gd name="connsiteY171" fmla="*/ 914819 h 6858000"/>
              <a:gd name="connsiteX172" fmla="*/ 9507741 w 12192000"/>
              <a:gd name="connsiteY172" fmla="*/ 947927 h 6858000"/>
              <a:gd name="connsiteX173" fmla="*/ 9605980 w 12192000"/>
              <a:gd name="connsiteY173" fmla="*/ 881168 h 6858000"/>
              <a:gd name="connsiteX174" fmla="*/ 9637459 w 12192000"/>
              <a:gd name="connsiteY174" fmla="*/ 947927 h 6858000"/>
              <a:gd name="connsiteX175" fmla="*/ 9701504 w 12192000"/>
              <a:gd name="connsiteY175" fmla="*/ 775331 h 6858000"/>
              <a:gd name="connsiteX176" fmla="*/ 9754694 w 12192000"/>
              <a:gd name="connsiteY176" fmla="*/ 962039 h 6858000"/>
              <a:gd name="connsiteX177" fmla="*/ 9825795 w 12192000"/>
              <a:gd name="connsiteY177" fmla="*/ 797583 h 6858000"/>
              <a:gd name="connsiteX178" fmla="*/ 9887669 w 12192000"/>
              <a:gd name="connsiteY178" fmla="*/ 947927 h 6858000"/>
              <a:gd name="connsiteX179" fmla="*/ 9947372 w 12192000"/>
              <a:gd name="connsiteY179" fmla="*/ 863257 h 6858000"/>
              <a:gd name="connsiteX180" fmla="*/ 10009788 w 12192000"/>
              <a:gd name="connsiteY180" fmla="*/ 947927 h 6858000"/>
              <a:gd name="connsiteX181" fmla="*/ 10065149 w 12192000"/>
              <a:gd name="connsiteY181" fmla="*/ 896365 h 6858000"/>
              <a:gd name="connsiteX182" fmla="*/ 10094458 w 12192000"/>
              <a:gd name="connsiteY182" fmla="*/ 947927 h 6858000"/>
              <a:gd name="connsiteX183" fmla="*/ 10170444 w 12192000"/>
              <a:gd name="connsiteY183" fmla="*/ 775873 h 6858000"/>
              <a:gd name="connsiteX184" fmla="*/ 10252399 w 12192000"/>
              <a:gd name="connsiteY184" fmla="*/ 947927 h 6858000"/>
              <a:gd name="connsiteX185" fmla="*/ 10305590 w 12192000"/>
              <a:gd name="connsiteY185" fmla="*/ 889852 h 6858000"/>
              <a:gd name="connsiteX186" fmla="*/ 10351724 w 12192000"/>
              <a:gd name="connsiteY186" fmla="*/ 947927 h 6858000"/>
              <a:gd name="connsiteX187" fmla="*/ 10378861 w 12192000"/>
              <a:gd name="connsiteY187" fmla="*/ 932730 h 6858000"/>
              <a:gd name="connsiteX188" fmla="*/ 10334898 w 12192000"/>
              <a:gd name="connsiteY188" fmla="*/ 782929 h 6858000"/>
              <a:gd name="connsiteX189" fmla="*/ 10316445 w 12192000"/>
              <a:gd name="connsiteY189" fmla="*/ 740051 h 6858000"/>
              <a:gd name="connsiteX190" fmla="*/ 10297991 w 12192000"/>
              <a:gd name="connsiteY190" fmla="*/ 743851 h 6858000"/>
              <a:gd name="connsiteX191" fmla="*/ 10259998 w 12192000"/>
              <a:gd name="connsiteY191" fmla="*/ 908305 h 6858000"/>
              <a:gd name="connsiteX192" fmla="*/ 10177499 w 12192000"/>
              <a:gd name="connsiteY192" fmla="*/ 721055 h 6858000"/>
              <a:gd name="connsiteX193" fmla="*/ 10099886 w 12192000"/>
              <a:gd name="connsiteY193" fmla="*/ 870313 h 6858000"/>
              <a:gd name="connsiteX194" fmla="*/ 10094458 w 12192000"/>
              <a:gd name="connsiteY194" fmla="*/ 801383 h 6858000"/>
              <a:gd name="connsiteX195" fmla="*/ 10098257 w 12192000"/>
              <a:gd name="connsiteY195" fmla="*/ 764475 h 6858000"/>
              <a:gd name="connsiteX196" fmla="*/ 10060807 w 12192000"/>
              <a:gd name="connsiteY196" fmla="*/ 738423 h 6858000"/>
              <a:gd name="connsiteX197" fmla="*/ 10016302 w 12192000"/>
              <a:gd name="connsiteY197" fmla="*/ 909934 h 6858000"/>
              <a:gd name="connsiteX198" fmla="*/ 9980480 w 12192000"/>
              <a:gd name="connsiteY198" fmla="*/ 786186 h 6858000"/>
              <a:gd name="connsiteX199" fmla="*/ 9943572 w 12192000"/>
              <a:gd name="connsiteY199" fmla="*/ 737880 h 6858000"/>
              <a:gd name="connsiteX200" fmla="*/ 9897981 w 12192000"/>
              <a:gd name="connsiteY200" fmla="*/ 901250 h 6858000"/>
              <a:gd name="connsiteX201" fmla="*/ 9830137 w 12192000"/>
              <a:gd name="connsiteY201" fmla="*/ 740051 h 6858000"/>
              <a:gd name="connsiteX202" fmla="*/ 9762293 w 12192000"/>
              <a:gd name="connsiteY202" fmla="*/ 892566 h 6858000"/>
              <a:gd name="connsiteX203" fmla="*/ 9703132 w 12192000"/>
              <a:gd name="connsiteY203" fmla="*/ 721055 h 6858000"/>
              <a:gd name="connsiteX204" fmla="*/ 9642887 w 12192000"/>
              <a:gd name="connsiteY204" fmla="*/ 842632 h 6858000"/>
              <a:gd name="connsiteX205" fmla="*/ 9636916 w 12192000"/>
              <a:gd name="connsiteY205" fmla="*/ 841547 h 6858000"/>
              <a:gd name="connsiteX206" fmla="*/ 9636374 w 12192000"/>
              <a:gd name="connsiteY206" fmla="*/ 805725 h 6858000"/>
              <a:gd name="connsiteX207" fmla="*/ 9602723 w 12192000"/>
              <a:gd name="connsiteY207" fmla="*/ 734624 h 6858000"/>
              <a:gd name="connsiteX208" fmla="*/ 9515882 w 12192000"/>
              <a:gd name="connsiteY208" fmla="*/ 911562 h 6858000"/>
              <a:gd name="connsiteX209" fmla="*/ 9480061 w 12192000"/>
              <a:gd name="connsiteY209" fmla="*/ 894737 h 6858000"/>
              <a:gd name="connsiteX210" fmla="*/ 9552790 w 12192000"/>
              <a:gd name="connsiteY210" fmla="*/ 793784 h 6858000"/>
              <a:gd name="connsiteX211" fmla="*/ 9495800 w 12192000"/>
              <a:gd name="connsiteY211" fmla="*/ 734624 h 6858000"/>
              <a:gd name="connsiteX212" fmla="*/ 9418187 w 12192000"/>
              <a:gd name="connsiteY212" fmla="*/ 829606 h 6858000"/>
              <a:gd name="connsiteX213" fmla="*/ 9429584 w 12192000"/>
              <a:gd name="connsiteY213" fmla="*/ 889309 h 6858000"/>
              <a:gd name="connsiteX214" fmla="*/ 9381279 w 12192000"/>
              <a:gd name="connsiteY214" fmla="*/ 911562 h 6858000"/>
              <a:gd name="connsiteX215" fmla="*/ 9370967 w 12192000"/>
              <a:gd name="connsiteY215" fmla="*/ 775873 h 6858000"/>
              <a:gd name="connsiteX216" fmla="*/ 9334602 w 12192000"/>
              <a:gd name="connsiteY216" fmla="*/ 805182 h 6858000"/>
              <a:gd name="connsiteX217" fmla="*/ 9292268 w 12192000"/>
              <a:gd name="connsiteY217" fmla="*/ 892566 h 6858000"/>
              <a:gd name="connsiteX218" fmla="*/ 9270014 w 12192000"/>
              <a:gd name="connsiteY218" fmla="*/ 859457 h 6858000"/>
              <a:gd name="connsiteX219" fmla="*/ 9372052 w 12192000"/>
              <a:gd name="connsiteY219" fmla="*/ 761761 h 6858000"/>
              <a:gd name="connsiteX220" fmla="*/ 9338401 w 12192000"/>
              <a:gd name="connsiteY220" fmla="*/ 729196 h 6858000"/>
              <a:gd name="connsiteX221" fmla="*/ 9246133 w 12192000"/>
              <a:gd name="connsiteY221" fmla="*/ 785100 h 6858000"/>
              <a:gd name="connsiteX222" fmla="*/ 9191858 w 12192000"/>
              <a:gd name="connsiteY222" fmla="*/ 838833 h 6858000"/>
              <a:gd name="connsiteX223" fmla="*/ 9192943 w 12192000"/>
              <a:gd name="connsiteY223" fmla="*/ 823636 h 6858000"/>
              <a:gd name="connsiteX224" fmla="*/ 9128356 w 12192000"/>
              <a:gd name="connsiteY224" fmla="*/ 735709 h 6858000"/>
              <a:gd name="connsiteX225" fmla="*/ 9076252 w 12192000"/>
              <a:gd name="connsiteY225" fmla="*/ 775331 h 6858000"/>
              <a:gd name="connsiteX226" fmla="*/ 9055084 w 12192000"/>
              <a:gd name="connsiteY226" fmla="*/ 741137 h 6858000"/>
              <a:gd name="connsiteX227" fmla="*/ 9031746 w 12192000"/>
              <a:gd name="connsiteY227" fmla="*/ 747107 h 6858000"/>
              <a:gd name="connsiteX228" fmla="*/ 9037173 w 12192000"/>
              <a:gd name="connsiteY228" fmla="*/ 810067 h 6858000"/>
              <a:gd name="connsiteX229" fmla="*/ 8995924 w 12192000"/>
              <a:gd name="connsiteY229" fmla="*/ 915904 h 6858000"/>
              <a:gd name="connsiteX230" fmla="*/ 8967158 w 12192000"/>
              <a:gd name="connsiteY230" fmla="*/ 795412 h 6858000"/>
              <a:gd name="connsiteX231" fmla="*/ 8955760 w 12192000"/>
              <a:gd name="connsiteY231" fmla="*/ 793241 h 6858000"/>
              <a:gd name="connsiteX232" fmla="*/ 8926994 w 12192000"/>
              <a:gd name="connsiteY232" fmla="*/ 846974 h 6858000"/>
              <a:gd name="connsiteX233" fmla="*/ 8880317 w 12192000"/>
              <a:gd name="connsiteY233" fmla="*/ 911562 h 6858000"/>
              <a:gd name="connsiteX234" fmla="*/ 8855350 w 12192000"/>
              <a:gd name="connsiteY234" fmla="*/ 871941 h 6858000"/>
              <a:gd name="connsiteX235" fmla="*/ 8963359 w 12192000"/>
              <a:gd name="connsiteY235" fmla="*/ 778044 h 6858000"/>
              <a:gd name="connsiteX236" fmla="*/ 8930250 w 12192000"/>
              <a:gd name="connsiteY236" fmla="*/ 741680 h 6858000"/>
              <a:gd name="connsiteX237" fmla="*/ 8822243 w 12192000"/>
              <a:gd name="connsiteY237" fmla="*/ 822008 h 6858000"/>
              <a:gd name="connsiteX238" fmla="*/ 8708264 w 12192000"/>
              <a:gd name="connsiteY238" fmla="*/ 920789 h 6858000"/>
              <a:gd name="connsiteX239" fmla="*/ 8628479 w 12192000"/>
              <a:gd name="connsiteY239" fmla="*/ 798126 h 6858000"/>
              <a:gd name="connsiteX240" fmla="*/ 8721833 w 12192000"/>
              <a:gd name="connsiteY240" fmla="*/ 658638 h 6858000"/>
              <a:gd name="connsiteX241" fmla="*/ 8760369 w 12192000"/>
              <a:gd name="connsiteY241" fmla="*/ 722683 h 6858000"/>
              <a:gd name="connsiteX242" fmla="*/ 8806502 w 12192000"/>
              <a:gd name="connsiteY242" fmla="*/ 688490 h 6858000"/>
              <a:gd name="connsiteX243" fmla="*/ 8724004 w 12192000"/>
              <a:gd name="connsiteY243" fmla="*/ 623359 h 6858000"/>
              <a:gd name="connsiteX244" fmla="*/ 10614417 w 12192000"/>
              <a:gd name="connsiteY244" fmla="*/ 616845 h 6858000"/>
              <a:gd name="connsiteX245" fmla="*/ 10406543 w 12192000"/>
              <a:gd name="connsiteY245" fmla="*/ 831233 h 6858000"/>
              <a:gd name="connsiteX246" fmla="*/ 10478186 w 12192000"/>
              <a:gd name="connsiteY246" fmla="*/ 937071 h 6858000"/>
              <a:gd name="connsiteX247" fmla="*/ 10552001 w 12192000"/>
              <a:gd name="connsiteY247" fmla="*/ 938699 h 6858000"/>
              <a:gd name="connsiteX248" fmla="*/ 10582056 w 12192000"/>
              <a:gd name="connsiteY248" fmla="*/ 923637 h 6858000"/>
              <a:gd name="connsiteX249" fmla="*/ 10605742 w 12192000"/>
              <a:gd name="connsiteY249" fmla="*/ 902222 h 6858000"/>
              <a:gd name="connsiteX250" fmla="*/ 10584429 w 12192000"/>
              <a:gd name="connsiteY250" fmla="*/ 941210 h 6858000"/>
              <a:gd name="connsiteX251" fmla="*/ 10538973 w 12192000"/>
              <a:gd name="connsiteY251" fmla="*/ 962039 h 6858000"/>
              <a:gd name="connsiteX252" fmla="*/ 10589992 w 12192000"/>
              <a:gd name="connsiteY252" fmla="*/ 976150 h 6858000"/>
              <a:gd name="connsiteX253" fmla="*/ 10709398 w 12192000"/>
              <a:gd name="connsiteY253" fmla="*/ 937072 h 6858000"/>
              <a:gd name="connsiteX254" fmla="*/ 10649152 w 12192000"/>
              <a:gd name="connsiteY254" fmla="*/ 883339 h 6858000"/>
              <a:gd name="connsiteX255" fmla="*/ 10708312 w 12192000"/>
              <a:gd name="connsiteY255" fmla="*/ 912648 h 6858000"/>
              <a:gd name="connsiteX256" fmla="*/ 10795153 w 12192000"/>
              <a:gd name="connsiteY256" fmla="*/ 826350 h 6858000"/>
              <a:gd name="connsiteX257" fmla="*/ 10795631 w 12192000"/>
              <a:gd name="connsiteY257" fmla="*/ 825891 h 6858000"/>
              <a:gd name="connsiteX258" fmla="*/ 10795697 w 12192000"/>
              <a:gd name="connsiteY258" fmla="*/ 826349 h 6858000"/>
              <a:gd name="connsiteX259" fmla="*/ 10801382 w 12192000"/>
              <a:gd name="connsiteY259" fmla="*/ 820371 h 6858000"/>
              <a:gd name="connsiteX260" fmla="*/ 10795631 w 12192000"/>
              <a:gd name="connsiteY260" fmla="*/ 825891 h 6858000"/>
              <a:gd name="connsiteX261" fmla="*/ 10795154 w 12192000"/>
              <a:gd name="connsiteY261" fmla="*/ 822549 h 6858000"/>
              <a:gd name="connsiteX262" fmla="*/ 10727853 w 12192000"/>
              <a:gd name="connsiteY262" fmla="*/ 685232 h 6858000"/>
              <a:gd name="connsiteX263" fmla="*/ 10623644 w 12192000"/>
              <a:gd name="connsiteY263" fmla="*/ 620644 h 6858000"/>
              <a:gd name="connsiteX264" fmla="*/ 10614417 w 12192000"/>
              <a:gd name="connsiteY264" fmla="*/ 616845 h 6858000"/>
              <a:gd name="connsiteX265" fmla="*/ 0 w 12192000"/>
              <a:gd name="connsiteY265" fmla="*/ 0 h 6858000"/>
              <a:gd name="connsiteX266" fmla="*/ 12192000 w 12192000"/>
              <a:gd name="connsiteY266" fmla="*/ 0 h 6858000"/>
              <a:gd name="connsiteX267" fmla="*/ 12192000 w 12192000"/>
              <a:gd name="connsiteY267" fmla="*/ 6858000 h 6858000"/>
              <a:gd name="connsiteX268" fmla="*/ 0 w 12192000"/>
              <a:gd name="connsiteY26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2192000" h="6858000">
                <a:moveTo>
                  <a:pt x="9343829" y="959868"/>
                </a:moveTo>
                <a:cubicBezTo>
                  <a:pt x="9341658" y="1057021"/>
                  <a:pt x="9319405" y="1078731"/>
                  <a:pt x="9294981" y="1078731"/>
                </a:cubicBezTo>
                <a:cubicBezTo>
                  <a:pt x="9279784" y="1078731"/>
                  <a:pt x="9271643" y="1064077"/>
                  <a:pt x="9271643" y="1047794"/>
                </a:cubicBezTo>
                <a:cubicBezTo>
                  <a:pt x="9271643" y="1003831"/>
                  <a:pt x="9304208" y="979949"/>
                  <a:pt x="9343829" y="959868"/>
                </a:cubicBezTo>
                <a:close/>
                <a:moveTo>
                  <a:pt x="11404665" y="772073"/>
                </a:moveTo>
                <a:cubicBezTo>
                  <a:pt x="11411721" y="772073"/>
                  <a:pt x="11417691" y="773159"/>
                  <a:pt x="11422576" y="775872"/>
                </a:cubicBezTo>
                <a:cubicBezTo>
                  <a:pt x="11428003" y="778586"/>
                  <a:pt x="11432345" y="781843"/>
                  <a:pt x="11435602" y="786185"/>
                </a:cubicBezTo>
                <a:cubicBezTo>
                  <a:pt x="11439401" y="790527"/>
                  <a:pt x="11442115" y="795411"/>
                  <a:pt x="11443743" y="801382"/>
                </a:cubicBezTo>
                <a:cubicBezTo>
                  <a:pt x="11445371" y="807352"/>
                  <a:pt x="11446457" y="813323"/>
                  <a:pt x="11446457" y="819836"/>
                </a:cubicBezTo>
                <a:lnTo>
                  <a:pt x="11359074" y="819836"/>
                </a:lnTo>
                <a:cubicBezTo>
                  <a:pt x="11360159" y="813865"/>
                  <a:pt x="11361245" y="808438"/>
                  <a:pt x="11363416" y="802467"/>
                </a:cubicBezTo>
                <a:cubicBezTo>
                  <a:pt x="11365587" y="796497"/>
                  <a:pt x="11368843" y="791612"/>
                  <a:pt x="11372100" y="787270"/>
                </a:cubicBezTo>
                <a:cubicBezTo>
                  <a:pt x="11375356" y="782928"/>
                  <a:pt x="11380241" y="779129"/>
                  <a:pt x="11385668" y="776415"/>
                </a:cubicBezTo>
                <a:cubicBezTo>
                  <a:pt x="11391096" y="773701"/>
                  <a:pt x="11397610" y="772073"/>
                  <a:pt x="11404665" y="772073"/>
                </a:cubicBezTo>
                <a:close/>
                <a:moveTo>
                  <a:pt x="9493087" y="766103"/>
                </a:moveTo>
                <a:cubicBezTo>
                  <a:pt x="9507741" y="766103"/>
                  <a:pt x="9516425" y="779673"/>
                  <a:pt x="9514797" y="799212"/>
                </a:cubicBezTo>
                <a:cubicBezTo>
                  <a:pt x="9513168" y="822008"/>
                  <a:pt x="9496343" y="848602"/>
                  <a:pt x="9467034" y="869227"/>
                </a:cubicBezTo>
                <a:cubicBezTo>
                  <a:pt x="9452380" y="825807"/>
                  <a:pt x="9463778" y="766103"/>
                  <a:pt x="9493087" y="766103"/>
                </a:cubicBezTo>
                <a:close/>
                <a:moveTo>
                  <a:pt x="11119177" y="740594"/>
                </a:moveTo>
                <a:lnTo>
                  <a:pt x="11189735" y="924046"/>
                </a:lnTo>
                <a:cubicBezTo>
                  <a:pt x="11196248" y="937614"/>
                  <a:pt x="11200590" y="944670"/>
                  <a:pt x="11213074" y="944670"/>
                </a:cubicBezTo>
                <a:lnTo>
                  <a:pt x="11236955" y="944670"/>
                </a:lnTo>
                <a:lnTo>
                  <a:pt x="11314569" y="740594"/>
                </a:lnTo>
                <a:lnTo>
                  <a:pt x="11278747" y="740594"/>
                </a:lnTo>
                <a:cubicBezTo>
                  <a:pt x="11266264" y="740594"/>
                  <a:pt x="11263007" y="747107"/>
                  <a:pt x="11257580" y="761219"/>
                </a:cubicBezTo>
                <a:lnTo>
                  <a:pt x="11217416" y="876825"/>
                </a:lnTo>
                <a:lnTo>
                  <a:pt x="11175624" y="763390"/>
                </a:lnTo>
                <a:cubicBezTo>
                  <a:pt x="11170738" y="748735"/>
                  <a:pt x="11166396" y="740594"/>
                  <a:pt x="11153913" y="740594"/>
                </a:cubicBezTo>
                <a:lnTo>
                  <a:pt x="11130575" y="740594"/>
                </a:lnTo>
                <a:close/>
                <a:moveTo>
                  <a:pt x="10865711" y="740051"/>
                </a:moveTo>
                <a:lnTo>
                  <a:pt x="10865711" y="910476"/>
                </a:lnTo>
                <a:cubicBezTo>
                  <a:pt x="10865711" y="929473"/>
                  <a:pt x="10880908" y="944670"/>
                  <a:pt x="10899904" y="944670"/>
                </a:cubicBezTo>
                <a:lnTo>
                  <a:pt x="10912930" y="944670"/>
                </a:lnTo>
                <a:lnTo>
                  <a:pt x="10912930" y="771531"/>
                </a:lnTo>
                <a:cubicBezTo>
                  <a:pt x="10912930" y="754163"/>
                  <a:pt x="10899361" y="740051"/>
                  <a:pt x="10881993" y="740051"/>
                </a:cubicBezTo>
                <a:close/>
                <a:moveTo>
                  <a:pt x="11599515" y="735166"/>
                </a:moveTo>
                <a:cubicBezTo>
                  <a:pt x="11581603" y="735166"/>
                  <a:pt x="11565321" y="736251"/>
                  <a:pt x="11550667" y="738965"/>
                </a:cubicBezTo>
                <a:cubicBezTo>
                  <a:pt x="11536012" y="741136"/>
                  <a:pt x="11524071" y="743850"/>
                  <a:pt x="11514845" y="746563"/>
                </a:cubicBezTo>
                <a:lnTo>
                  <a:pt x="11514845" y="918617"/>
                </a:lnTo>
                <a:lnTo>
                  <a:pt x="11514845" y="924045"/>
                </a:lnTo>
                <a:cubicBezTo>
                  <a:pt x="11514845" y="935442"/>
                  <a:pt x="11524071" y="945212"/>
                  <a:pt x="11536012" y="945212"/>
                </a:cubicBezTo>
                <a:lnTo>
                  <a:pt x="11536555" y="945212"/>
                </a:lnTo>
                <a:lnTo>
                  <a:pt x="11562607" y="945212"/>
                </a:lnTo>
                <a:lnTo>
                  <a:pt x="11562607" y="779129"/>
                </a:lnTo>
                <a:cubicBezTo>
                  <a:pt x="11565864" y="778586"/>
                  <a:pt x="11570748" y="778043"/>
                  <a:pt x="11577261" y="776958"/>
                </a:cubicBezTo>
                <a:cubicBezTo>
                  <a:pt x="11583774" y="776415"/>
                  <a:pt x="11590287" y="775872"/>
                  <a:pt x="11596258" y="775872"/>
                </a:cubicBezTo>
                <a:cubicBezTo>
                  <a:pt x="11604399" y="775872"/>
                  <a:pt x="11611455" y="776958"/>
                  <a:pt x="11616883" y="779129"/>
                </a:cubicBezTo>
                <a:cubicBezTo>
                  <a:pt x="11622310" y="781300"/>
                  <a:pt x="11627195" y="785099"/>
                  <a:pt x="11630451" y="789441"/>
                </a:cubicBezTo>
                <a:cubicBezTo>
                  <a:pt x="11633708" y="794326"/>
                  <a:pt x="11635879" y="800296"/>
                  <a:pt x="11637507" y="808437"/>
                </a:cubicBezTo>
                <a:cubicBezTo>
                  <a:pt x="11639135" y="816036"/>
                  <a:pt x="11639678" y="825263"/>
                  <a:pt x="11639678" y="836661"/>
                </a:cubicBezTo>
                <a:lnTo>
                  <a:pt x="11639678" y="918074"/>
                </a:lnTo>
                <a:lnTo>
                  <a:pt x="11639678" y="923502"/>
                </a:lnTo>
                <a:cubicBezTo>
                  <a:pt x="11639678" y="934900"/>
                  <a:pt x="11648905" y="944669"/>
                  <a:pt x="11660845" y="944669"/>
                </a:cubicBezTo>
                <a:lnTo>
                  <a:pt x="11687441" y="944669"/>
                </a:lnTo>
                <a:lnTo>
                  <a:pt x="11687441" y="829605"/>
                </a:lnTo>
                <a:cubicBezTo>
                  <a:pt x="11685812" y="815494"/>
                  <a:pt x="11684727" y="803010"/>
                  <a:pt x="11682013" y="791069"/>
                </a:cubicBezTo>
                <a:cubicBezTo>
                  <a:pt x="11679299" y="779672"/>
                  <a:pt x="11674415" y="769359"/>
                  <a:pt x="11667902" y="761218"/>
                </a:cubicBezTo>
                <a:cubicBezTo>
                  <a:pt x="11661389" y="753076"/>
                  <a:pt x="11652161" y="746563"/>
                  <a:pt x="11641306" y="742221"/>
                </a:cubicBezTo>
                <a:cubicBezTo>
                  <a:pt x="11629909" y="737879"/>
                  <a:pt x="11616340" y="735166"/>
                  <a:pt x="11599515" y="735166"/>
                </a:cubicBezTo>
                <a:close/>
                <a:moveTo>
                  <a:pt x="11026367" y="735166"/>
                </a:moveTo>
                <a:cubicBezTo>
                  <a:pt x="11008455" y="735166"/>
                  <a:pt x="10992173" y="736251"/>
                  <a:pt x="10977519" y="738965"/>
                </a:cubicBezTo>
                <a:cubicBezTo>
                  <a:pt x="10962864" y="741136"/>
                  <a:pt x="10950923" y="743850"/>
                  <a:pt x="10941697" y="746563"/>
                </a:cubicBezTo>
                <a:lnTo>
                  <a:pt x="10941697" y="918617"/>
                </a:lnTo>
                <a:lnTo>
                  <a:pt x="10941697" y="924045"/>
                </a:lnTo>
                <a:cubicBezTo>
                  <a:pt x="10941697" y="935442"/>
                  <a:pt x="10950923" y="945212"/>
                  <a:pt x="10962864" y="945212"/>
                </a:cubicBezTo>
                <a:lnTo>
                  <a:pt x="10963407" y="945212"/>
                </a:lnTo>
                <a:lnTo>
                  <a:pt x="10989459" y="945212"/>
                </a:lnTo>
                <a:lnTo>
                  <a:pt x="10989459" y="779129"/>
                </a:lnTo>
                <a:cubicBezTo>
                  <a:pt x="10992716" y="778586"/>
                  <a:pt x="10997600" y="778043"/>
                  <a:pt x="11004114" y="776958"/>
                </a:cubicBezTo>
                <a:cubicBezTo>
                  <a:pt x="11010626" y="776415"/>
                  <a:pt x="11017139" y="775872"/>
                  <a:pt x="11023110" y="775872"/>
                </a:cubicBezTo>
                <a:cubicBezTo>
                  <a:pt x="11031252" y="775872"/>
                  <a:pt x="11038307" y="776958"/>
                  <a:pt x="11043735" y="779129"/>
                </a:cubicBezTo>
                <a:cubicBezTo>
                  <a:pt x="11049162" y="781300"/>
                  <a:pt x="11054047" y="785099"/>
                  <a:pt x="11057303" y="789441"/>
                </a:cubicBezTo>
                <a:cubicBezTo>
                  <a:pt x="11060560" y="794326"/>
                  <a:pt x="11062731" y="800296"/>
                  <a:pt x="11064359" y="808437"/>
                </a:cubicBezTo>
                <a:cubicBezTo>
                  <a:pt x="11065987" y="816036"/>
                  <a:pt x="11066530" y="825263"/>
                  <a:pt x="11066530" y="836661"/>
                </a:cubicBezTo>
                <a:lnTo>
                  <a:pt x="11066530" y="918074"/>
                </a:lnTo>
                <a:lnTo>
                  <a:pt x="11066530" y="923502"/>
                </a:lnTo>
                <a:cubicBezTo>
                  <a:pt x="11066530" y="934900"/>
                  <a:pt x="11075757" y="944669"/>
                  <a:pt x="11087697" y="944669"/>
                </a:cubicBezTo>
                <a:lnTo>
                  <a:pt x="11114293" y="944669"/>
                </a:lnTo>
                <a:lnTo>
                  <a:pt x="11114293" y="829605"/>
                </a:lnTo>
                <a:cubicBezTo>
                  <a:pt x="11113207" y="815494"/>
                  <a:pt x="11111579" y="803010"/>
                  <a:pt x="11108865" y="791069"/>
                </a:cubicBezTo>
                <a:cubicBezTo>
                  <a:pt x="11106151" y="779672"/>
                  <a:pt x="11101267" y="769359"/>
                  <a:pt x="11094754" y="761218"/>
                </a:cubicBezTo>
                <a:cubicBezTo>
                  <a:pt x="11088241" y="753076"/>
                  <a:pt x="11079013" y="746563"/>
                  <a:pt x="11068158" y="742221"/>
                </a:cubicBezTo>
                <a:cubicBezTo>
                  <a:pt x="11056761" y="737879"/>
                  <a:pt x="11043192" y="735166"/>
                  <a:pt x="11026367" y="735166"/>
                </a:cubicBezTo>
                <a:close/>
                <a:moveTo>
                  <a:pt x="11405208" y="732995"/>
                </a:moveTo>
                <a:cubicBezTo>
                  <a:pt x="11393267" y="732995"/>
                  <a:pt x="11381327" y="735708"/>
                  <a:pt x="11369929" y="740050"/>
                </a:cubicBezTo>
                <a:cubicBezTo>
                  <a:pt x="11358531" y="744392"/>
                  <a:pt x="11348219" y="750905"/>
                  <a:pt x="11339535" y="760133"/>
                </a:cubicBezTo>
                <a:cubicBezTo>
                  <a:pt x="11330850" y="768817"/>
                  <a:pt x="11323794" y="780214"/>
                  <a:pt x="11318367" y="793783"/>
                </a:cubicBezTo>
                <a:cubicBezTo>
                  <a:pt x="11312939" y="807352"/>
                  <a:pt x="11310226" y="823092"/>
                  <a:pt x="11310226" y="841003"/>
                </a:cubicBezTo>
                <a:cubicBezTo>
                  <a:pt x="11310226" y="856200"/>
                  <a:pt x="11312397" y="870312"/>
                  <a:pt x="11316739" y="882252"/>
                </a:cubicBezTo>
                <a:cubicBezTo>
                  <a:pt x="11321081" y="895278"/>
                  <a:pt x="11327051" y="906676"/>
                  <a:pt x="11335735" y="915903"/>
                </a:cubicBezTo>
                <a:cubicBezTo>
                  <a:pt x="11344419" y="925673"/>
                  <a:pt x="11355274" y="932729"/>
                  <a:pt x="11368300" y="938156"/>
                </a:cubicBezTo>
                <a:cubicBezTo>
                  <a:pt x="11381327" y="943584"/>
                  <a:pt x="11397066" y="946297"/>
                  <a:pt x="11414977" y="946297"/>
                </a:cubicBezTo>
                <a:cubicBezTo>
                  <a:pt x="11422033" y="946297"/>
                  <a:pt x="11428546" y="945755"/>
                  <a:pt x="11435602" y="945212"/>
                </a:cubicBezTo>
                <a:cubicBezTo>
                  <a:pt x="11442658" y="944669"/>
                  <a:pt x="11448628" y="943584"/>
                  <a:pt x="11454598" y="942498"/>
                </a:cubicBezTo>
                <a:cubicBezTo>
                  <a:pt x="11460568" y="941413"/>
                  <a:pt x="11465996" y="940327"/>
                  <a:pt x="11470338" y="938699"/>
                </a:cubicBezTo>
                <a:cubicBezTo>
                  <a:pt x="11475223" y="937071"/>
                  <a:pt x="11478480" y="935442"/>
                  <a:pt x="11481193" y="934357"/>
                </a:cubicBezTo>
                <a:lnTo>
                  <a:pt x="11477937" y="913190"/>
                </a:lnTo>
                <a:cubicBezTo>
                  <a:pt x="11476309" y="904505"/>
                  <a:pt x="11468168" y="898535"/>
                  <a:pt x="11459483" y="900706"/>
                </a:cubicBezTo>
                <a:cubicBezTo>
                  <a:pt x="11457855" y="901249"/>
                  <a:pt x="11455141" y="901791"/>
                  <a:pt x="11452970" y="902334"/>
                </a:cubicBezTo>
                <a:cubicBezTo>
                  <a:pt x="11443200" y="904505"/>
                  <a:pt x="11432888" y="905591"/>
                  <a:pt x="11421490" y="905591"/>
                </a:cubicBezTo>
                <a:cubicBezTo>
                  <a:pt x="11401951" y="905591"/>
                  <a:pt x="11387297" y="900706"/>
                  <a:pt x="11376984" y="892022"/>
                </a:cubicBezTo>
                <a:cubicBezTo>
                  <a:pt x="11366672" y="882795"/>
                  <a:pt x="11360702" y="870312"/>
                  <a:pt x="11359617" y="854029"/>
                </a:cubicBezTo>
                <a:lnTo>
                  <a:pt x="11493677" y="854029"/>
                </a:lnTo>
                <a:cubicBezTo>
                  <a:pt x="11493677" y="851315"/>
                  <a:pt x="11494219" y="848601"/>
                  <a:pt x="11494219" y="845345"/>
                </a:cubicBezTo>
                <a:lnTo>
                  <a:pt x="11494219" y="836661"/>
                </a:lnTo>
                <a:cubicBezTo>
                  <a:pt x="11494219" y="802467"/>
                  <a:pt x="11486621" y="776415"/>
                  <a:pt x="11470881" y="759047"/>
                </a:cubicBezTo>
                <a:cubicBezTo>
                  <a:pt x="11455141" y="741679"/>
                  <a:pt x="11433431" y="732995"/>
                  <a:pt x="11405208" y="732995"/>
                </a:cubicBezTo>
                <a:close/>
                <a:moveTo>
                  <a:pt x="11753113" y="676006"/>
                </a:moveTo>
                <a:lnTo>
                  <a:pt x="11726518" y="680348"/>
                </a:lnTo>
                <a:cubicBezTo>
                  <a:pt x="11714578" y="682519"/>
                  <a:pt x="11705894" y="692831"/>
                  <a:pt x="11705894" y="704229"/>
                </a:cubicBezTo>
                <a:lnTo>
                  <a:pt x="11705894" y="860543"/>
                </a:lnTo>
                <a:cubicBezTo>
                  <a:pt x="11705894" y="874111"/>
                  <a:pt x="11706979" y="886595"/>
                  <a:pt x="11709150" y="896907"/>
                </a:cubicBezTo>
                <a:cubicBezTo>
                  <a:pt x="11711321" y="907762"/>
                  <a:pt x="11715120" y="916446"/>
                  <a:pt x="11721091" y="924045"/>
                </a:cubicBezTo>
                <a:cubicBezTo>
                  <a:pt x="11727061" y="931101"/>
                  <a:pt x="11734659" y="937071"/>
                  <a:pt x="11744429" y="940870"/>
                </a:cubicBezTo>
                <a:cubicBezTo>
                  <a:pt x="11754198" y="944669"/>
                  <a:pt x="11766139" y="946840"/>
                  <a:pt x="11780793" y="946840"/>
                </a:cubicBezTo>
                <a:cubicBezTo>
                  <a:pt x="11792734" y="946840"/>
                  <a:pt x="11803589" y="945755"/>
                  <a:pt x="11812273" y="943041"/>
                </a:cubicBezTo>
                <a:lnTo>
                  <a:pt x="11818786" y="941413"/>
                </a:lnTo>
                <a:cubicBezTo>
                  <a:pt x="11827469" y="939242"/>
                  <a:pt x="11832354" y="930558"/>
                  <a:pt x="11830726" y="921874"/>
                </a:cubicBezTo>
                <a:lnTo>
                  <a:pt x="11825841" y="898535"/>
                </a:lnTo>
                <a:cubicBezTo>
                  <a:pt x="11822042" y="900163"/>
                  <a:pt x="11816614" y="901792"/>
                  <a:pt x="11810102" y="903420"/>
                </a:cubicBezTo>
                <a:cubicBezTo>
                  <a:pt x="11803589" y="905048"/>
                  <a:pt x="11795990" y="906134"/>
                  <a:pt x="11787306" y="906134"/>
                </a:cubicBezTo>
                <a:cubicBezTo>
                  <a:pt x="11774823" y="906134"/>
                  <a:pt x="11766139" y="902877"/>
                  <a:pt x="11760711" y="895821"/>
                </a:cubicBezTo>
                <a:cubicBezTo>
                  <a:pt x="11755827" y="888766"/>
                  <a:pt x="11753113" y="876825"/>
                  <a:pt x="11753113" y="860543"/>
                </a:cubicBezTo>
                <a:lnTo>
                  <a:pt x="11753113" y="777501"/>
                </a:lnTo>
                <a:lnTo>
                  <a:pt x="11804674" y="777501"/>
                </a:lnTo>
                <a:cubicBezTo>
                  <a:pt x="11816614" y="777501"/>
                  <a:pt x="11825841" y="767731"/>
                  <a:pt x="11825841" y="756334"/>
                </a:cubicBezTo>
                <a:lnTo>
                  <a:pt x="11825841" y="739508"/>
                </a:lnTo>
                <a:lnTo>
                  <a:pt x="11753113" y="739508"/>
                </a:lnTo>
                <a:close/>
                <a:moveTo>
                  <a:pt x="10315900" y="658094"/>
                </a:moveTo>
                <a:cubicBezTo>
                  <a:pt x="10302874" y="658637"/>
                  <a:pt x="10292562" y="670035"/>
                  <a:pt x="10292562" y="684147"/>
                </a:cubicBezTo>
                <a:cubicBezTo>
                  <a:pt x="10293104" y="697716"/>
                  <a:pt x="10303417" y="708571"/>
                  <a:pt x="10315900" y="708028"/>
                </a:cubicBezTo>
                <a:cubicBezTo>
                  <a:pt x="10328926" y="707486"/>
                  <a:pt x="10339238" y="696087"/>
                  <a:pt x="10339238" y="681976"/>
                </a:cubicBezTo>
                <a:cubicBezTo>
                  <a:pt x="10339238" y="668406"/>
                  <a:pt x="10328926" y="657551"/>
                  <a:pt x="10315900" y="658094"/>
                </a:cubicBezTo>
                <a:close/>
                <a:moveTo>
                  <a:pt x="10889050" y="651039"/>
                </a:moveTo>
                <a:cubicBezTo>
                  <a:pt x="10880908" y="651039"/>
                  <a:pt x="10874395" y="653210"/>
                  <a:pt x="10868425" y="658637"/>
                </a:cubicBezTo>
                <a:cubicBezTo>
                  <a:pt x="10862454" y="664065"/>
                  <a:pt x="10859741" y="671121"/>
                  <a:pt x="10859741" y="680348"/>
                </a:cubicBezTo>
                <a:cubicBezTo>
                  <a:pt x="10859741" y="689032"/>
                  <a:pt x="10862454" y="696088"/>
                  <a:pt x="10868425" y="701515"/>
                </a:cubicBezTo>
                <a:cubicBezTo>
                  <a:pt x="10873853" y="706400"/>
                  <a:pt x="10880908" y="709114"/>
                  <a:pt x="10889050" y="709114"/>
                </a:cubicBezTo>
                <a:cubicBezTo>
                  <a:pt x="10896648" y="709114"/>
                  <a:pt x="10903161" y="706943"/>
                  <a:pt x="10909132" y="701515"/>
                </a:cubicBezTo>
                <a:cubicBezTo>
                  <a:pt x="10915102" y="696088"/>
                  <a:pt x="10917816" y="689032"/>
                  <a:pt x="10917816" y="680348"/>
                </a:cubicBezTo>
                <a:cubicBezTo>
                  <a:pt x="10917816" y="671664"/>
                  <a:pt x="10915102" y="664065"/>
                  <a:pt x="10909132" y="658637"/>
                </a:cubicBezTo>
                <a:cubicBezTo>
                  <a:pt x="10903704" y="653752"/>
                  <a:pt x="10896648" y="651039"/>
                  <a:pt x="10889050" y="651039"/>
                </a:cubicBezTo>
                <a:close/>
                <a:moveTo>
                  <a:pt x="9964195" y="647783"/>
                </a:moveTo>
                <a:cubicBezTo>
                  <a:pt x="9950084" y="648326"/>
                  <a:pt x="9938686" y="660267"/>
                  <a:pt x="9938686" y="674921"/>
                </a:cubicBezTo>
                <a:cubicBezTo>
                  <a:pt x="9938143" y="689575"/>
                  <a:pt x="9950084" y="700973"/>
                  <a:pt x="9964195" y="700431"/>
                </a:cubicBezTo>
                <a:cubicBezTo>
                  <a:pt x="9978307" y="699888"/>
                  <a:pt x="9988077" y="687947"/>
                  <a:pt x="9988077" y="673293"/>
                </a:cubicBezTo>
                <a:cubicBezTo>
                  <a:pt x="9988077" y="658638"/>
                  <a:pt x="9978307" y="647241"/>
                  <a:pt x="9964195" y="647783"/>
                </a:cubicBezTo>
                <a:close/>
                <a:moveTo>
                  <a:pt x="8724004" y="623359"/>
                </a:moveTo>
                <a:cubicBezTo>
                  <a:pt x="8645847" y="623359"/>
                  <a:pt x="8576918" y="701516"/>
                  <a:pt x="8576918" y="804096"/>
                </a:cubicBezTo>
                <a:cubicBezTo>
                  <a:pt x="8576918" y="903421"/>
                  <a:pt x="8627394" y="962039"/>
                  <a:pt x="8698495" y="962039"/>
                </a:cubicBezTo>
                <a:cubicBezTo>
                  <a:pt x="8743543" y="962039"/>
                  <a:pt x="8785878" y="936529"/>
                  <a:pt x="8815187" y="888766"/>
                </a:cubicBezTo>
                <a:cubicBezTo>
                  <a:pt x="8822785" y="930016"/>
                  <a:pt x="8851008" y="947927"/>
                  <a:pt x="8872176" y="947927"/>
                </a:cubicBezTo>
                <a:cubicBezTo>
                  <a:pt x="8906369" y="947927"/>
                  <a:pt x="8928622" y="925674"/>
                  <a:pt x="8941105" y="895822"/>
                </a:cubicBezTo>
                <a:cubicBezTo>
                  <a:pt x="8948704" y="925674"/>
                  <a:pt x="8964987" y="947927"/>
                  <a:pt x="8991582" y="947927"/>
                </a:cubicBezTo>
                <a:cubicBezTo>
                  <a:pt x="9010578" y="947927"/>
                  <a:pt x="9025233" y="938157"/>
                  <a:pt x="9036088" y="922960"/>
                </a:cubicBezTo>
                <a:cubicBezTo>
                  <a:pt x="9031746" y="1027712"/>
                  <a:pt x="9026318" y="1093928"/>
                  <a:pt x="9088192" y="1080902"/>
                </a:cubicBezTo>
                <a:cubicBezTo>
                  <a:pt x="9078423" y="1051051"/>
                  <a:pt x="9075708" y="997317"/>
                  <a:pt x="9075708" y="948469"/>
                </a:cubicBezTo>
                <a:cubicBezTo>
                  <a:pt x="9075708" y="815494"/>
                  <a:pt x="9097419" y="771531"/>
                  <a:pt x="9125099" y="771531"/>
                </a:cubicBezTo>
                <a:cubicBezTo>
                  <a:pt x="9145181" y="771531"/>
                  <a:pt x="9151694" y="797041"/>
                  <a:pt x="9151694" y="824179"/>
                </a:cubicBezTo>
                <a:cubicBezTo>
                  <a:pt x="9151694" y="838833"/>
                  <a:pt x="9150066" y="855115"/>
                  <a:pt x="9146810" y="870313"/>
                </a:cubicBezTo>
                <a:cubicBezTo>
                  <a:pt x="9113159" y="891480"/>
                  <a:pt x="9086021" y="908305"/>
                  <a:pt x="9086021" y="930016"/>
                </a:cubicBezTo>
                <a:cubicBezTo>
                  <a:pt x="9086021" y="946841"/>
                  <a:pt x="9098504" y="948469"/>
                  <a:pt x="9109359" y="948469"/>
                </a:cubicBezTo>
                <a:cubicBezTo>
                  <a:pt x="9135411" y="948469"/>
                  <a:pt x="9166349" y="922960"/>
                  <a:pt x="9183717" y="875198"/>
                </a:cubicBezTo>
                <a:cubicBezTo>
                  <a:pt x="9198914" y="865971"/>
                  <a:pt x="9214111" y="855658"/>
                  <a:pt x="9228223" y="841547"/>
                </a:cubicBezTo>
                <a:cubicBezTo>
                  <a:pt x="9227680" y="846431"/>
                  <a:pt x="9227680" y="851316"/>
                  <a:pt x="9227680" y="856201"/>
                </a:cubicBezTo>
                <a:cubicBezTo>
                  <a:pt x="9227680" y="903963"/>
                  <a:pt x="9248304" y="932730"/>
                  <a:pt x="9281955" y="932730"/>
                </a:cubicBezTo>
                <a:cubicBezTo>
                  <a:pt x="9308007" y="932730"/>
                  <a:pt x="9327546" y="914276"/>
                  <a:pt x="9341658" y="886595"/>
                </a:cubicBezTo>
                <a:cubicBezTo>
                  <a:pt x="9342744" y="902335"/>
                  <a:pt x="9343286" y="917533"/>
                  <a:pt x="9343286" y="931101"/>
                </a:cubicBezTo>
                <a:cubicBezTo>
                  <a:pt x="9290097" y="955526"/>
                  <a:pt x="9231479" y="980492"/>
                  <a:pt x="9231479" y="1049422"/>
                </a:cubicBezTo>
                <a:cubicBezTo>
                  <a:pt x="9231479" y="1085244"/>
                  <a:pt x="9257531" y="1111839"/>
                  <a:pt x="9290639" y="1111839"/>
                </a:cubicBezTo>
                <a:cubicBezTo>
                  <a:pt x="9364454" y="1111839"/>
                  <a:pt x="9381279" y="1034225"/>
                  <a:pt x="9381822" y="943585"/>
                </a:cubicBezTo>
                <a:cubicBezTo>
                  <a:pt x="9405703" y="933272"/>
                  <a:pt x="9423614" y="925131"/>
                  <a:pt x="9444239" y="914819"/>
                </a:cubicBezTo>
                <a:cubicBezTo>
                  <a:pt x="9462149" y="937072"/>
                  <a:pt x="9486031" y="947927"/>
                  <a:pt x="9507741" y="947927"/>
                </a:cubicBezTo>
                <a:cubicBezTo>
                  <a:pt x="9549533" y="947927"/>
                  <a:pt x="9580470" y="925674"/>
                  <a:pt x="9605980" y="881168"/>
                </a:cubicBezTo>
                <a:cubicBezTo>
                  <a:pt x="9610322" y="915362"/>
                  <a:pt x="9619006" y="947927"/>
                  <a:pt x="9637459" y="947927"/>
                </a:cubicBezTo>
                <a:cubicBezTo>
                  <a:pt x="9670567" y="947927"/>
                  <a:pt x="9677080" y="775331"/>
                  <a:pt x="9701504" y="775331"/>
                </a:cubicBezTo>
                <a:cubicBezTo>
                  <a:pt x="9720500" y="775331"/>
                  <a:pt x="9704761" y="962039"/>
                  <a:pt x="9754694" y="962039"/>
                </a:cubicBezTo>
                <a:cubicBezTo>
                  <a:pt x="9797029" y="962039"/>
                  <a:pt x="9805170" y="797583"/>
                  <a:pt x="9825795" y="797583"/>
                </a:cubicBezTo>
                <a:cubicBezTo>
                  <a:pt x="9840449" y="797583"/>
                  <a:pt x="9841535" y="947927"/>
                  <a:pt x="9887669" y="947927"/>
                </a:cubicBezTo>
                <a:cubicBezTo>
                  <a:pt x="9910464" y="947927"/>
                  <a:pt x="9934888" y="920789"/>
                  <a:pt x="9947372" y="863257"/>
                </a:cubicBezTo>
                <a:cubicBezTo>
                  <a:pt x="9953342" y="901250"/>
                  <a:pt x="9972338" y="947927"/>
                  <a:pt x="10009788" y="947927"/>
                </a:cubicBezTo>
                <a:cubicBezTo>
                  <a:pt x="10031499" y="947927"/>
                  <a:pt x="10050495" y="925674"/>
                  <a:pt x="10065149" y="896365"/>
                </a:cubicBezTo>
                <a:cubicBezTo>
                  <a:pt x="10068948" y="926759"/>
                  <a:pt x="10077633" y="947927"/>
                  <a:pt x="10094458" y="947927"/>
                </a:cubicBezTo>
                <a:cubicBezTo>
                  <a:pt x="10137878" y="947927"/>
                  <a:pt x="10136250" y="775873"/>
                  <a:pt x="10170444" y="775873"/>
                </a:cubicBezTo>
                <a:cubicBezTo>
                  <a:pt x="10197039" y="775873"/>
                  <a:pt x="10188897" y="947927"/>
                  <a:pt x="10252399" y="947927"/>
                </a:cubicBezTo>
                <a:cubicBezTo>
                  <a:pt x="10282794" y="947927"/>
                  <a:pt x="10296905" y="922417"/>
                  <a:pt x="10305590" y="889852"/>
                </a:cubicBezTo>
                <a:cubicBezTo>
                  <a:pt x="10317530" y="937614"/>
                  <a:pt x="10335983" y="947927"/>
                  <a:pt x="10351724" y="947927"/>
                </a:cubicBezTo>
                <a:cubicBezTo>
                  <a:pt x="10361493" y="947927"/>
                  <a:pt x="10369092" y="944670"/>
                  <a:pt x="10378861" y="932730"/>
                </a:cubicBezTo>
                <a:cubicBezTo>
                  <a:pt x="10331099" y="911020"/>
                  <a:pt x="10334898" y="833405"/>
                  <a:pt x="10334898" y="782929"/>
                </a:cubicBezTo>
                <a:cubicBezTo>
                  <a:pt x="10334898" y="756877"/>
                  <a:pt x="10333270" y="740051"/>
                  <a:pt x="10316445" y="740051"/>
                </a:cubicBezTo>
                <a:cubicBezTo>
                  <a:pt x="10308846" y="740051"/>
                  <a:pt x="10305047" y="741680"/>
                  <a:pt x="10297991" y="743851"/>
                </a:cubicBezTo>
                <a:cubicBezTo>
                  <a:pt x="10303961" y="831234"/>
                  <a:pt x="10284422" y="908305"/>
                  <a:pt x="10259998" y="908305"/>
                </a:cubicBezTo>
                <a:cubicBezTo>
                  <a:pt x="10228518" y="908305"/>
                  <a:pt x="10244258" y="721055"/>
                  <a:pt x="10177499" y="721055"/>
                </a:cubicBezTo>
                <a:cubicBezTo>
                  <a:pt x="10115626" y="721055"/>
                  <a:pt x="10106941" y="870313"/>
                  <a:pt x="10099886" y="870313"/>
                </a:cubicBezTo>
                <a:cubicBezTo>
                  <a:pt x="10095001" y="870313"/>
                  <a:pt x="10094458" y="831234"/>
                  <a:pt x="10094458" y="801383"/>
                </a:cubicBezTo>
                <a:cubicBezTo>
                  <a:pt x="10097172" y="787271"/>
                  <a:pt x="10098257" y="774245"/>
                  <a:pt x="10098257" y="764475"/>
                </a:cubicBezTo>
                <a:cubicBezTo>
                  <a:pt x="10098257" y="750364"/>
                  <a:pt x="10092830" y="726482"/>
                  <a:pt x="10060807" y="738423"/>
                </a:cubicBezTo>
                <a:cubicBezTo>
                  <a:pt x="10061893" y="845346"/>
                  <a:pt x="10040725" y="909934"/>
                  <a:pt x="10016302" y="909934"/>
                </a:cubicBezTo>
                <a:cubicBezTo>
                  <a:pt x="9981022" y="909934"/>
                  <a:pt x="9980480" y="813323"/>
                  <a:pt x="9980480" y="786186"/>
                </a:cubicBezTo>
                <a:cubicBezTo>
                  <a:pt x="9980480" y="760133"/>
                  <a:pt x="9982108" y="725397"/>
                  <a:pt x="9943572" y="737880"/>
                </a:cubicBezTo>
                <a:cubicBezTo>
                  <a:pt x="9937602" y="831234"/>
                  <a:pt x="9913178" y="901250"/>
                  <a:pt x="9897981" y="901250"/>
                </a:cubicBezTo>
                <a:cubicBezTo>
                  <a:pt x="9875186" y="901250"/>
                  <a:pt x="9879528" y="740051"/>
                  <a:pt x="9830137" y="740051"/>
                </a:cubicBezTo>
                <a:cubicBezTo>
                  <a:pt x="9785631" y="740051"/>
                  <a:pt x="9771519" y="892566"/>
                  <a:pt x="9762293" y="892566"/>
                </a:cubicBezTo>
                <a:cubicBezTo>
                  <a:pt x="9745467" y="892566"/>
                  <a:pt x="9767720" y="721055"/>
                  <a:pt x="9703132" y="721055"/>
                </a:cubicBezTo>
                <a:cubicBezTo>
                  <a:pt x="9669481" y="721055"/>
                  <a:pt x="9655913" y="778587"/>
                  <a:pt x="9642887" y="842632"/>
                </a:cubicBezTo>
                <a:cubicBezTo>
                  <a:pt x="9640173" y="855115"/>
                  <a:pt x="9637459" y="855658"/>
                  <a:pt x="9636916" y="841547"/>
                </a:cubicBezTo>
                <a:cubicBezTo>
                  <a:pt x="9636374" y="830149"/>
                  <a:pt x="9636374" y="817122"/>
                  <a:pt x="9636374" y="805725"/>
                </a:cubicBezTo>
                <a:cubicBezTo>
                  <a:pt x="9652656" y="741137"/>
                  <a:pt x="9632574" y="717255"/>
                  <a:pt x="9602723" y="734624"/>
                </a:cubicBezTo>
                <a:cubicBezTo>
                  <a:pt x="9612493" y="853487"/>
                  <a:pt x="9557674" y="911562"/>
                  <a:pt x="9515882" y="911562"/>
                </a:cubicBezTo>
                <a:cubicBezTo>
                  <a:pt x="9500685" y="911562"/>
                  <a:pt x="9488745" y="905049"/>
                  <a:pt x="9480061" y="894737"/>
                </a:cubicBezTo>
                <a:cubicBezTo>
                  <a:pt x="9530536" y="863799"/>
                  <a:pt x="9552790" y="828521"/>
                  <a:pt x="9552790" y="793784"/>
                </a:cubicBezTo>
                <a:cubicBezTo>
                  <a:pt x="9552790" y="756334"/>
                  <a:pt x="9531079" y="734624"/>
                  <a:pt x="9495800" y="734624"/>
                </a:cubicBezTo>
                <a:cubicBezTo>
                  <a:pt x="9445867" y="734624"/>
                  <a:pt x="9418187" y="786186"/>
                  <a:pt x="9418187" y="829606"/>
                </a:cubicBezTo>
                <a:cubicBezTo>
                  <a:pt x="9418187" y="852944"/>
                  <a:pt x="9422529" y="873027"/>
                  <a:pt x="9429584" y="889309"/>
                </a:cubicBezTo>
                <a:lnTo>
                  <a:pt x="9381279" y="911562"/>
                </a:lnTo>
                <a:cubicBezTo>
                  <a:pt x="9380194" y="866514"/>
                  <a:pt x="9374766" y="819293"/>
                  <a:pt x="9370967" y="775873"/>
                </a:cubicBezTo>
                <a:cubicBezTo>
                  <a:pt x="9344372" y="768817"/>
                  <a:pt x="9336774" y="781301"/>
                  <a:pt x="9334602" y="805182"/>
                </a:cubicBezTo>
                <a:cubicBezTo>
                  <a:pt x="9329717" y="858915"/>
                  <a:pt x="9310178" y="892566"/>
                  <a:pt x="9292268" y="892566"/>
                </a:cubicBezTo>
                <a:cubicBezTo>
                  <a:pt x="9279242" y="892566"/>
                  <a:pt x="9271100" y="876283"/>
                  <a:pt x="9270014" y="859457"/>
                </a:cubicBezTo>
                <a:cubicBezTo>
                  <a:pt x="9265130" y="773160"/>
                  <a:pt x="9335145" y="749278"/>
                  <a:pt x="9372052" y="761761"/>
                </a:cubicBezTo>
                <a:cubicBezTo>
                  <a:pt x="9379651" y="742765"/>
                  <a:pt x="9371510" y="729196"/>
                  <a:pt x="9338401" y="729196"/>
                </a:cubicBezTo>
                <a:cubicBezTo>
                  <a:pt x="9298238" y="729196"/>
                  <a:pt x="9268386" y="753620"/>
                  <a:pt x="9246133" y="785100"/>
                </a:cubicBezTo>
                <a:cubicBezTo>
                  <a:pt x="9231479" y="805725"/>
                  <a:pt x="9214654" y="820922"/>
                  <a:pt x="9191858" y="838833"/>
                </a:cubicBezTo>
                <a:cubicBezTo>
                  <a:pt x="9192401" y="833405"/>
                  <a:pt x="9192943" y="828521"/>
                  <a:pt x="9192943" y="823636"/>
                </a:cubicBezTo>
                <a:cubicBezTo>
                  <a:pt x="9192943" y="762847"/>
                  <a:pt x="9159836" y="735709"/>
                  <a:pt x="9128356" y="735709"/>
                </a:cubicBezTo>
                <a:cubicBezTo>
                  <a:pt x="9102304" y="735709"/>
                  <a:pt x="9086021" y="751449"/>
                  <a:pt x="9076252" y="775331"/>
                </a:cubicBezTo>
                <a:cubicBezTo>
                  <a:pt x="9074080" y="751449"/>
                  <a:pt x="9069195" y="741137"/>
                  <a:pt x="9055084" y="741137"/>
                </a:cubicBezTo>
                <a:cubicBezTo>
                  <a:pt x="9049114" y="741137"/>
                  <a:pt x="9040972" y="742765"/>
                  <a:pt x="9031746" y="747107"/>
                </a:cubicBezTo>
                <a:cubicBezTo>
                  <a:pt x="9036088" y="760676"/>
                  <a:pt x="9037173" y="790528"/>
                  <a:pt x="9037173" y="810067"/>
                </a:cubicBezTo>
                <a:cubicBezTo>
                  <a:pt x="9037173" y="883339"/>
                  <a:pt x="9016006" y="915904"/>
                  <a:pt x="8995924" y="915904"/>
                </a:cubicBezTo>
                <a:cubicBezTo>
                  <a:pt x="8972585" y="915904"/>
                  <a:pt x="8969329" y="829063"/>
                  <a:pt x="8967158" y="795412"/>
                </a:cubicBezTo>
                <a:cubicBezTo>
                  <a:pt x="8964444" y="794327"/>
                  <a:pt x="8961188" y="793241"/>
                  <a:pt x="8955760" y="793241"/>
                </a:cubicBezTo>
                <a:cubicBezTo>
                  <a:pt x="8935135" y="793241"/>
                  <a:pt x="8932421" y="821465"/>
                  <a:pt x="8926994" y="846974"/>
                </a:cubicBezTo>
                <a:cubicBezTo>
                  <a:pt x="8921024" y="875740"/>
                  <a:pt x="8904741" y="911562"/>
                  <a:pt x="8880317" y="911562"/>
                </a:cubicBezTo>
                <a:cubicBezTo>
                  <a:pt x="8865663" y="911562"/>
                  <a:pt x="8856436" y="897450"/>
                  <a:pt x="8855350" y="871941"/>
                </a:cubicBezTo>
                <a:cubicBezTo>
                  <a:pt x="8853179" y="820379"/>
                  <a:pt x="8896057" y="759048"/>
                  <a:pt x="8963359" y="778044"/>
                </a:cubicBezTo>
                <a:cubicBezTo>
                  <a:pt x="8972043" y="757419"/>
                  <a:pt x="8958474" y="741680"/>
                  <a:pt x="8930250" y="741680"/>
                </a:cubicBezTo>
                <a:cubicBezTo>
                  <a:pt x="8880860" y="741680"/>
                  <a:pt x="8840153" y="778587"/>
                  <a:pt x="8822243" y="822008"/>
                </a:cubicBezTo>
                <a:cubicBezTo>
                  <a:pt x="8804331" y="862172"/>
                  <a:pt x="8772852" y="920789"/>
                  <a:pt x="8708264" y="920789"/>
                </a:cubicBezTo>
                <a:cubicBezTo>
                  <a:pt x="8662673" y="920789"/>
                  <a:pt x="8628479" y="881168"/>
                  <a:pt x="8628479" y="798126"/>
                </a:cubicBezTo>
                <a:cubicBezTo>
                  <a:pt x="8628479" y="726482"/>
                  <a:pt x="8673528" y="658638"/>
                  <a:pt x="8721833" y="658638"/>
                </a:cubicBezTo>
                <a:cubicBezTo>
                  <a:pt x="8755484" y="658638"/>
                  <a:pt x="8763082" y="691746"/>
                  <a:pt x="8760369" y="722683"/>
                </a:cubicBezTo>
                <a:cubicBezTo>
                  <a:pt x="8777737" y="736795"/>
                  <a:pt x="8806502" y="723768"/>
                  <a:pt x="8806502" y="688490"/>
                </a:cubicBezTo>
                <a:cubicBezTo>
                  <a:pt x="8806502" y="664608"/>
                  <a:pt x="8786963" y="623359"/>
                  <a:pt x="8724004" y="623359"/>
                </a:cubicBezTo>
                <a:close/>
                <a:moveTo>
                  <a:pt x="10614417" y="616845"/>
                </a:moveTo>
                <a:cubicBezTo>
                  <a:pt x="10567740" y="672748"/>
                  <a:pt x="10406543" y="714541"/>
                  <a:pt x="10406543" y="831233"/>
                </a:cubicBezTo>
                <a:cubicBezTo>
                  <a:pt x="10406543" y="876825"/>
                  <a:pt x="10435308" y="919703"/>
                  <a:pt x="10478186" y="937071"/>
                </a:cubicBezTo>
                <a:cubicBezTo>
                  <a:pt x="10502610" y="946297"/>
                  <a:pt x="10527577" y="946840"/>
                  <a:pt x="10552001" y="938699"/>
                </a:cubicBezTo>
                <a:cubicBezTo>
                  <a:pt x="10562856" y="935171"/>
                  <a:pt x="10572897" y="930015"/>
                  <a:pt x="10582056" y="923637"/>
                </a:cubicBezTo>
                <a:lnTo>
                  <a:pt x="10605742" y="902222"/>
                </a:lnTo>
                <a:lnTo>
                  <a:pt x="10584429" y="941210"/>
                </a:lnTo>
                <a:cubicBezTo>
                  <a:pt x="10572488" y="952133"/>
                  <a:pt x="10556613" y="959868"/>
                  <a:pt x="10538973" y="962039"/>
                </a:cubicBezTo>
                <a:cubicBezTo>
                  <a:pt x="10547657" y="971265"/>
                  <a:pt x="10566653" y="976150"/>
                  <a:pt x="10589992" y="976150"/>
                </a:cubicBezTo>
                <a:cubicBezTo>
                  <a:pt x="10631783" y="976150"/>
                  <a:pt x="10682802" y="963667"/>
                  <a:pt x="10709398" y="937072"/>
                </a:cubicBezTo>
                <a:cubicBezTo>
                  <a:pt x="10674118" y="937614"/>
                  <a:pt x="10651323" y="914819"/>
                  <a:pt x="10649152" y="883339"/>
                </a:cubicBezTo>
                <a:cubicBezTo>
                  <a:pt x="10665977" y="904506"/>
                  <a:pt x="10685516" y="912648"/>
                  <a:pt x="10708312" y="912648"/>
                </a:cubicBezTo>
                <a:cubicBezTo>
                  <a:pt x="10757160" y="912648"/>
                  <a:pt x="10794610" y="873027"/>
                  <a:pt x="10795153" y="826350"/>
                </a:cubicBezTo>
                <a:lnTo>
                  <a:pt x="10795631" y="825891"/>
                </a:lnTo>
                <a:lnTo>
                  <a:pt x="10795697" y="826349"/>
                </a:lnTo>
                <a:cubicBezTo>
                  <a:pt x="10795697" y="826824"/>
                  <a:pt x="10803583" y="818497"/>
                  <a:pt x="10801382" y="820371"/>
                </a:cubicBezTo>
                <a:lnTo>
                  <a:pt x="10795631" y="825891"/>
                </a:lnTo>
                <a:lnTo>
                  <a:pt x="10795154" y="822549"/>
                </a:lnTo>
                <a:cubicBezTo>
                  <a:pt x="10794069" y="767731"/>
                  <a:pt x="10768017" y="722139"/>
                  <a:pt x="10727853" y="685232"/>
                </a:cubicBezTo>
                <a:cubicBezTo>
                  <a:pt x="10697459" y="657551"/>
                  <a:pt x="10661094" y="636384"/>
                  <a:pt x="10623644" y="620644"/>
                </a:cubicBezTo>
                <a:cubicBezTo>
                  <a:pt x="10620388" y="619558"/>
                  <a:pt x="10617674" y="617930"/>
                  <a:pt x="10614417" y="616845"/>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en-GB"/>
              <a:t>Insert picture and send to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29121045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latin typeface="Ubuntu" panose="020B0504030602030204" pitchFamily="34" charset="0"/>
              </a:defRPr>
            </a:lvl1pPr>
            <a:lvl2pPr>
              <a:defRPr>
                <a:solidFill>
                  <a:schemeClr val="bg1"/>
                </a:solidFill>
                <a:latin typeface="Ubuntu" panose="020B0504030602030204" pitchFamily="34" charset="0"/>
              </a:defRPr>
            </a:lvl2pPr>
            <a:lvl3pPr>
              <a:defRPr>
                <a:solidFill>
                  <a:schemeClr val="bg1"/>
                </a:solidFill>
                <a:latin typeface="Ubuntu" panose="020B0504030602030204" pitchFamily="34" charset="0"/>
              </a:defRPr>
            </a:lvl3pPr>
            <a:lvl4pPr>
              <a:buClr>
                <a:schemeClr val="accent5"/>
              </a:buClr>
              <a:defRPr>
                <a:solidFill>
                  <a:schemeClr val="bg1"/>
                </a:solidFill>
                <a:latin typeface="Ubuntu" panose="020B0504030602030204" pitchFamily="34" charset="0"/>
              </a:defRPr>
            </a:lvl4pPr>
            <a:lvl5pPr>
              <a:buClr>
                <a:schemeClr val="bg1"/>
              </a:buClr>
              <a:defRPr>
                <a:solidFill>
                  <a:schemeClr val="bg1"/>
                </a:solidFill>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6170335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669034"/>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70791577"/>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01806050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163739"/>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094730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510409850"/>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009526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41217358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77685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58504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3417528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48509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2461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53763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53400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16757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416867122"/>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6672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86829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56398808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8545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27575770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8790342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986630366"/>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4113316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nchor="ctr" anchorCtr="0"/>
          <a:lstStyle>
            <a:lvl1pPr>
              <a:defRPr sz="2400">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3654921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7_Title Only Grey">
    <p:bg>
      <p:bgPr>
        <a:solidFill>
          <a:schemeClr val="accent4"/>
        </a:solidFill>
        <a:effectLst/>
      </p:bgPr>
    </p:bg>
    <p:spTree>
      <p:nvGrpSpPr>
        <p:cNvPr id="1" name=""/>
        <p:cNvGrpSpPr/>
        <p:nvPr/>
      </p:nvGrpSpPr>
      <p:grpSpPr>
        <a:xfrm>
          <a:off x="0" y="0"/>
          <a:ext cx="0" cy="0"/>
          <a:chOff x="0" y="0"/>
          <a:chExt cx="0" cy="0"/>
        </a:xfrm>
      </p:grpSpPr>
      <p:pic>
        <p:nvPicPr>
          <p:cNvPr id="4" name="Picture 3" descr="A person holding a tablet&#10;&#10;Description automatically generated">
            <a:extLst>
              <a:ext uri="{FF2B5EF4-FFF2-40B4-BE49-F238E27FC236}">
                <a16:creationId xmlns:a16="http://schemas.microsoft.com/office/drawing/2014/main" id="{B8A20434-E2E2-6332-1000-A13243979C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560"/>
            <a:ext cx="12192000" cy="6832879"/>
          </a:xfrm>
          <a:prstGeom prst="rect">
            <a:avLst/>
          </a:prstGeom>
        </p:spPr>
      </p:pic>
      <p:sp>
        <p:nvSpPr>
          <p:cNvPr id="5" name="Rectangle 4">
            <a:extLst>
              <a:ext uri="{FF2B5EF4-FFF2-40B4-BE49-F238E27FC236}">
                <a16:creationId xmlns:a16="http://schemas.microsoft.com/office/drawing/2014/main" id="{2CAEE353-4DBB-B73A-D865-24FCCEBF9FA2}"/>
              </a:ext>
            </a:extLst>
          </p:cNvPr>
          <p:cNvSpPr/>
          <p:nvPr userDrawn="1"/>
        </p:nvSpPr>
        <p:spPr>
          <a:xfrm>
            <a:off x="0" y="12560"/>
            <a:ext cx="12192000" cy="6832879"/>
          </a:xfrm>
          <a:prstGeom prst="rect">
            <a:avLst/>
          </a:prstGeom>
          <a:solidFill>
            <a:schemeClr val="accent4">
              <a:alpha val="87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err="1">
              <a:solidFill>
                <a:schemeClr val="tx1"/>
              </a:solidFill>
            </a:endParaRPr>
          </a:p>
        </p:txBody>
      </p:sp>
      <p:sp>
        <p:nvSpPr>
          <p:cNvPr id="9" name="Rectangle 27">
            <a:extLst>
              <a:ext uri="{FF2B5EF4-FFF2-40B4-BE49-F238E27FC236}">
                <a16:creationId xmlns:a16="http://schemas.microsoft.com/office/drawing/2014/main" id="{4505EAD9-B707-8942-AC5E-60882DCB875B}"/>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4. All rights reserved  |</a:t>
            </a:r>
          </a:p>
        </p:txBody>
      </p:sp>
      <p:sp>
        <p:nvSpPr>
          <p:cNvPr id="10" name="Rectangle 43">
            <a:extLst>
              <a:ext uri="{FF2B5EF4-FFF2-40B4-BE49-F238E27FC236}">
                <a16:creationId xmlns:a16="http://schemas.microsoft.com/office/drawing/2014/main" id="{B640CA27-EBFC-DECF-F4E8-2478C8704DFE}"/>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420300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285134"/>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11031270"/>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9948652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98A7A6B-0CED-3D22-60C6-B94605CB7B0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0" y="0"/>
            <a:ext cx="12123099" cy="6857999"/>
          </a:xfrm>
          <a:prstGeom prst="rect">
            <a:avLst/>
          </a:prstGeom>
        </p:spPr>
      </p:pic>
      <p:sp>
        <p:nvSpPr>
          <p:cNvPr id="5" name="Rectangle 4">
            <a:extLst>
              <a:ext uri="{FF2B5EF4-FFF2-40B4-BE49-F238E27FC236}">
                <a16:creationId xmlns:a16="http://schemas.microsoft.com/office/drawing/2014/main" id="{B09FB040-01BB-30EA-0F6A-EEE16B9FF6E2}"/>
              </a:ext>
            </a:extLst>
          </p:cNvPr>
          <p:cNvSpPr/>
          <p:nvPr/>
        </p:nvSpPr>
        <p:spPr>
          <a:xfrm>
            <a:off x="0" y="0"/>
            <a:ext cx="12192000" cy="6858000"/>
          </a:xfrm>
          <a:prstGeom prst="rect">
            <a:avLst/>
          </a:prstGeom>
          <a:gradFill>
            <a:gsLst>
              <a:gs pos="0">
                <a:schemeClr val="tx1"/>
              </a:gs>
              <a:gs pos="100000">
                <a:schemeClr val="tx1">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ndParaRPr>
          </a:p>
        </p:txBody>
      </p:sp>
      <p:grpSp>
        <p:nvGrpSpPr>
          <p:cNvPr id="6" name="Group 5">
            <a:extLst>
              <a:ext uri="{FF2B5EF4-FFF2-40B4-BE49-F238E27FC236}">
                <a16:creationId xmlns:a16="http://schemas.microsoft.com/office/drawing/2014/main" id="{8E6991A7-BD83-50CA-1B8F-05991ACA1C61}"/>
              </a:ext>
            </a:extLst>
          </p:cNvPr>
          <p:cNvGrpSpPr>
            <a:grpSpLocks noChangeAspect="1"/>
          </p:cNvGrpSpPr>
          <p:nvPr/>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C159652-3A41-B662-B60F-E3DD77DAAD54}"/>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D5C58D9-8A55-12C8-F9ED-644CD31137F4}"/>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10">
              <a:extLst>
                <a:ext uri="{FF2B5EF4-FFF2-40B4-BE49-F238E27FC236}">
                  <a16:creationId xmlns:a16="http://schemas.microsoft.com/office/drawing/2014/main" id="{03DCD35C-0CFA-DD43-E659-142B81986BE0}"/>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1">
              <a:extLst>
                <a:ext uri="{FF2B5EF4-FFF2-40B4-BE49-F238E27FC236}">
                  <a16:creationId xmlns:a16="http://schemas.microsoft.com/office/drawing/2014/main" id="{D5C312AB-334E-47EB-B6E8-53315D94D051}"/>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2">
              <a:extLst>
                <a:ext uri="{FF2B5EF4-FFF2-40B4-BE49-F238E27FC236}">
                  <a16:creationId xmlns:a16="http://schemas.microsoft.com/office/drawing/2014/main" id="{7BBF9742-8562-9764-1C8A-1BC84419D63B}"/>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13" name="TextBox 12">
            <a:extLst>
              <a:ext uri="{FF2B5EF4-FFF2-40B4-BE49-F238E27FC236}">
                <a16:creationId xmlns:a16="http://schemas.microsoft.com/office/drawing/2014/main" id="{4D85C194-CDD8-4BC7-1C92-B0E3040D9942}"/>
              </a:ext>
            </a:extLst>
          </p:cNvPr>
          <p:cNvSpPr txBox="1"/>
          <p:nvPr userDrawn="1"/>
        </p:nvSpPr>
        <p:spPr>
          <a:xfrm>
            <a:off x="8387012" y="6452462"/>
            <a:ext cx="3424526" cy="338554"/>
          </a:xfrm>
          <a:prstGeom prst="rect">
            <a:avLst/>
          </a:prstGeom>
          <a:noFill/>
        </p:spPr>
        <p:txBody>
          <a:bodyPr wrap="square" rtlCol="0">
            <a:spAutoFit/>
          </a:bodyPr>
          <a:lstStyle/>
          <a:p>
            <a:pPr algn="ctr"/>
            <a:r>
              <a:rPr lang="en-IN" sz="1600">
                <a:solidFill>
                  <a:schemeClr val="accent1"/>
                </a:solidFill>
              </a:rPr>
              <a:t>Powered by Gen AI For CX Foundry</a:t>
            </a:r>
          </a:p>
        </p:txBody>
      </p:sp>
      <p:sp>
        <p:nvSpPr>
          <p:cNvPr id="2" name="Title 1">
            <a:extLst>
              <a:ext uri="{FF2B5EF4-FFF2-40B4-BE49-F238E27FC236}">
                <a16:creationId xmlns:a16="http://schemas.microsoft.com/office/drawing/2014/main" id="{FDB0CAFF-8B20-4B52-A18C-BFD139761BF9}"/>
              </a:ext>
            </a:extLst>
          </p:cNvPr>
          <p:cNvSpPr>
            <a:spLocks noGrp="1"/>
          </p:cNvSpPr>
          <p:nvPr userDrawn="1">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956225981"/>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3_Titre seul">
    <p:bg>
      <p:bgPr>
        <a:solidFill>
          <a:schemeClr val="accent4"/>
        </a:solidFill>
        <a:effectLst/>
      </p:bgPr>
    </p:bg>
    <p:spTree>
      <p:nvGrpSpPr>
        <p:cNvPr id="1" name=""/>
        <p:cNvGrpSpPr/>
        <p:nvPr/>
      </p:nvGrpSpPr>
      <p:grpSpPr>
        <a:xfrm>
          <a:off x="0" y="0"/>
          <a:ext cx="0" cy="0"/>
          <a:chOff x="0" y="0"/>
          <a:chExt cx="0" cy="0"/>
        </a:xfrm>
      </p:grpSpPr>
      <p:pic>
        <p:nvPicPr>
          <p:cNvPr id="3" name="Picture 2" descr="A person sitting at a desk looking at a screen with drawings&#10;&#10;Description automatically generated with low confidence">
            <a:extLst>
              <a:ext uri="{FF2B5EF4-FFF2-40B4-BE49-F238E27FC236}">
                <a16:creationId xmlns:a16="http://schemas.microsoft.com/office/drawing/2014/main" id="{25416125-19EF-69A4-9D8C-663395F7515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2560"/>
            <a:ext cx="12192000" cy="6832879"/>
          </a:xfrm>
          <a:prstGeom prst="rect">
            <a:avLst/>
          </a:prstGeom>
        </p:spPr>
      </p:pic>
      <p:sp>
        <p:nvSpPr>
          <p:cNvPr id="7" name="Rectangle 6">
            <a:extLst>
              <a:ext uri="{FF2B5EF4-FFF2-40B4-BE49-F238E27FC236}">
                <a16:creationId xmlns:a16="http://schemas.microsoft.com/office/drawing/2014/main" id="{00C0BD43-9130-9771-6A24-86CF882B1306}"/>
              </a:ext>
            </a:extLst>
          </p:cNvPr>
          <p:cNvSpPr/>
          <p:nvPr userDrawn="1"/>
        </p:nvSpPr>
        <p:spPr>
          <a:xfrm>
            <a:off x="0" y="0"/>
            <a:ext cx="12192000" cy="6858000"/>
          </a:xfrm>
          <a:prstGeom prst="rect">
            <a:avLst/>
          </a:prstGeom>
          <a:gradFill flip="none" rotWithShape="1">
            <a:gsLst>
              <a:gs pos="19000">
                <a:srgbClr val="3D4055">
                  <a:lumMod val="0"/>
                </a:srgbClr>
              </a:gs>
              <a:gs pos="100000">
                <a:srgbClr val="3D4055">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object 76">
            <a:extLst>
              <a:ext uri="{FF2B5EF4-FFF2-40B4-BE49-F238E27FC236}">
                <a16:creationId xmlns:a16="http://schemas.microsoft.com/office/drawing/2014/main" id="{E6CA4173-3518-10DD-3C27-F3E85ED82FAC}"/>
              </a:ext>
              <a:ext uri="{C183D7F6-B498-43B3-948B-1728B52AA6E4}">
                <adec:decorative xmlns:adec="http://schemas.microsoft.com/office/drawing/2017/decorative" val="1"/>
              </a:ext>
            </a:extLst>
          </p:cNvPr>
          <p:cNvSpPr/>
          <p:nvPr userDrawn="1"/>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defTabSz="554492"/>
            <a:endParaRPr sz="1092">
              <a:solidFill>
                <a:prstClr val="black"/>
              </a:solidFill>
              <a:latin typeface="Ubuntu"/>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tângulo 43">
            <a:extLst>
              <a:ext uri="{FF2B5EF4-FFF2-40B4-BE49-F238E27FC236}">
                <a16:creationId xmlns:a16="http://schemas.microsoft.com/office/drawing/2014/main" id="{57B75F62-1FDD-A0D9-5B9B-980CB5F41AB1}"/>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9" name="Rectangle 27">
            <a:extLst>
              <a:ext uri="{FF2B5EF4-FFF2-40B4-BE49-F238E27FC236}">
                <a16:creationId xmlns:a16="http://schemas.microsoft.com/office/drawing/2014/main" id="{A954C80F-4D89-4426-0382-54CB05FDE944}"/>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Restricted © Capgemini 2023. All rights reserved  |</a:t>
            </a:r>
          </a:p>
        </p:txBody>
      </p:sp>
      <p:sp>
        <p:nvSpPr>
          <p:cNvPr id="11" name="TextBox 10">
            <a:extLst>
              <a:ext uri="{FF2B5EF4-FFF2-40B4-BE49-F238E27FC236}">
                <a16:creationId xmlns:a16="http://schemas.microsoft.com/office/drawing/2014/main" id="{F40A399B-7528-B051-9A54-A243CA0622DD}"/>
              </a:ext>
            </a:extLst>
          </p:cNvPr>
          <p:cNvSpPr txBox="1"/>
          <p:nvPr userDrawn="1"/>
        </p:nvSpPr>
        <p:spPr>
          <a:xfrm>
            <a:off x="6005513" y="6473711"/>
            <a:ext cx="3424526" cy="307777"/>
          </a:xfrm>
          <a:prstGeom prst="rect">
            <a:avLst/>
          </a:prstGeom>
          <a:noFill/>
        </p:spPr>
        <p:txBody>
          <a:bodyPr wrap="square" rtlCol="0">
            <a:spAutoFit/>
          </a:bodyPr>
          <a:lstStyle/>
          <a:p>
            <a:pPr algn="ctr"/>
            <a:r>
              <a:rPr lang="en-IN" sz="1400">
                <a:solidFill>
                  <a:schemeClr val="accent1"/>
                </a:solidFill>
              </a:rPr>
              <a:t>Powered by Gen AI For CX Foundry</a:t>
            </a:r>
          </a:p>
        </p:txBody>
      </p:sp>
    </p:spTree>
    <p:extLst>
      <p:ext uri="{BB962C8B-B14F-4D97-AF65-F5344CB8AC3E}">
        <p14:creationId xmlns:p14="http://schemas.microsoft.com/office/powerpoint/2010/main" val="327465702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_Titre seul">
    <p:bg>
      <p:bgPr>
        <a:solidFill>
          <a:schemeClr val="accent4"/>
        </a:solidFill>
        <a:effectLst/>
      </p:bgPr>
    </p:bg>
    <p:spTree>
      <p:nvGrpSpPr>
        <p:cNvPr id="1" name=""/>
        <p:cNvGrpSpPr/>
        <p:nvPr/>
      </p:nvGrpSpPr>
      <p:grpSpPr>
        <a:xfrm>
          <a:off x="0" y="0"/>
          <a:ext cx="0" cy="0"/>
          <a:chOff x="0" y="0"/>
          <a:chExt cx="0" cy="0"/>
        </a:xfrm>
      </p:grpSpPr>
      <p:pic>
        <p:nvPicPr>
          <p:cNvPr id="11" name="Picture 2" descr="Salesforce Ventures targets new $250M fund at generative AI startups |  TechCrunch">
            <a:extLst>
              <a:ext uri="{FF2B5EF4-FFF2-40B4-BE49-F238E27FC236}">
                <a16:creationId xmlns:a16="http://schemas.microsoft.com/office/drawing/2014/main" id="{18DEB7D2-2FC7-9412-DC08-466B32F8FC0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B946FC12-7665-C186-E92D-769792C3A656}"/>
              </a:ext>
            </a:extLst>
          </p:cNvPr>
          <p:cNvSpPr/>
          <p:nvPr userDrawn="1"/>
        </p:nvSpPr>
        <p:spPr>
          <a:xfrm>
            <a:off x="0" y="0"/>
            <a:ext cx="12191979" cy="6858000"/>
          </a:xfrm>
          <a:prstGeom prst="rect">
            <a:avLst/>
          </a:prstGeom>
          <a:gradFill>
            <a:gsLst>
              <a:gs pos="59000">
                <a:schemeClr val="tx1">
                  <a:lumMod val="8000"/>
                </a:schemeClr>
              </a:gs>
              <a:gs pos="86000">
                <a:schemeClr val="tx1">
                  <a:alpha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Ubuntu" panose="020B0504030602030204" pitchFamily="34" charset="0"/>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6" name="Retângulo 43">
            <a:extLst>
              <a:ext uri="{FF2B5EF4-FFF2-40B4-BE49-F238E27FC236}">
                <a16:creationId xmlns:a16="http://schemas.microsoft.com/office/drawing/2014/main" id="{D5D7EC9B-615E-E1C2-42FF-E9D24890C6D4}"/>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7" name="Rectangle 27">
            <a:extLst>
              <a:ext uri="{FF2B5EF4-FFF2-40B4-BE49-F238E27FC236}">
                <a16:creationId xmlns:a16="http://schemas.microsoft.com/office/drawing/2014/main" id="{CE96F217-0150-6443-5DD0-22E6FF9FE4E4}"/>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Restricted © Capgemini 2023. All rights reserved  |</a:t>
            </a:r>
          </a:p>
        </p:txBody>
      </p:sp>
      <p:sp>
        <p:nvSpPr>
          <p:cNvPr id="8" name="TextBox 7">
            <a:extLst>
              <a:ext uri="{FF2B5EF4-FFF2-40B4-BE49-F238E27FC236}">
                <a16:creationId xmlns:a16="http://schemas.microsoft.com/office/drawing/2014/main" id="{1D8B5FD9-21EE-C0AA-B819-C1F529C8D273}"/>
              </a:ext>
            </a:extLst>
          </p:cNvPr>
          <p:cNvSpPr txBox="1"/>
          <p:nvPr userDrawn="1"/>
        </p:nvSpPr>
        <p:spPr>
          <a:xfrm>
            <a:off x="6005513" y="6473711"/>
            <a:ext cx="3424526" cy="307777"/>
          </a:xfrm>
          <a:prstGeom prst="rect">
            <a:avLst/>
          </a:prstGeom>
          <a:noFill/>
        </p:spPr>
        <p:txBody>
          <a:bodyPr wrap="square" rtlCol="0">
            <a:spAutoFit/>
          </a:bodyPr>
          <a:lstStyle/>
          <a:p>
            <a:pPr algn="ctr"/>
            <a:r>
              <a:rPr lang="en-IN" sz="1400">
                <a:solidFill>
                  <a:schemeClr val="accent1"/>
                </a:solidFill>
              </a:rPr>
              <a:t>Powered by Gen AI For CX Foundry</a:t>
            </a:r>
          </a:p>
        </p:txBody>
      </p:sp>
      <p:sp>
        <p:nvSpPr>
          <p:cNvPr id="9" name="object 76">
            <a:extLst>
              <a:ext uri="{FF2B5EF4-FFF2-40B4-BE49-F238E27FC236}">
                <a16:creationId xmlns:a16="http://schemas.microsoft.com/office/drawing/2014/main" id="{1A3E2B59-0777-D2AD-4C31-414E9F3FE8AE}"/>
              </a:ext>
              <a:ext uri="{C183D7F6-B498-43B3-948B-1728B52AA6E4}">
                <adec:decorative xmlns:adec="http://schemas.microsoft.com/office/drawing/2017/decorative" val="1"/>
              </a:ext>
            </a:extLst>
          </p:cNvPr>
          <p:cNvSpPr/>
          <p:nvPr userDrawn="1"/>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defTabSz="554492"/>
            <a:endParaRPr sz="1092">
              <a:solidFill>
                <a:prstClr val="black"/>
              </a:solidFill>
              <a:latin typeface="Ubuntu"/>
            </a:endParaRPr>
          </a:p>
        </p:txBody>
      </p:sp>
    </p:spTree>
    <p:extLst>
      <p:ext uri="{BB962C8B-B14F-4D97-AF65-F5344CB8AC3E}">
        <p14:creationId xmlns:p14="http://schemas.microsoft.com/office/powerpoint/2010/main" val="2708504870"/>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0131880"/>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C6E504-BCFE-D58C-FC28-6060E153DCA6}"/>
              </a:ext>
            </a:extLst>
          </p:cNvPr>
          <p:cNvSpPr/>
          <p:nvPr userDrawn="1"/>
        </p:nvSpPr>
        <p:spPr>
          <a:xfrm>
            <a:off x="1" y="2587750"/>
            <a:ext cx="12191752" cy="427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3" name="Group 2">
            <a:extLst>
              <a:ext uri="{FF2B5EF4-FFF2-40B4-BE49-F238E27FC236}">
                <a16:creationId xmlns:a16="http://schemas.microsoft.com/office/drawing/2014/main" id="{F5405D7D-D28E-7E8F-B49D-8E582E22403E}"/>
              </a:ext>
              <a:ext uri="{C183D7F6-B498-43B3-948B-1728B52AA6E4}">
                <adec:decorative xmlns:adec="http://schemas.microsoft.com/office/drawing/2017/decorative" val="1"/>
              </a:ext>
            </a:extLst>
          </p:cNvPr>
          <p:cNvGrpSpPr/>
          <p:nvPr userDrawn="1"/>
        </p:nvGrpSpPr>
        <p:grpSpPr>
          <a:xfrm>
            <a:off x="0" y="0"/>
            <a:ext cx="12192000" cy="2587752"/>
            <a:chOff x="0" y="0"/>
            <a:chExt cx="12192000" cy="2345707"/>
          </a:xfrm>
        </p:grpSpPr>
        <p:pic>
          <p:nvPicPr>
            <p:cNvPr id="5" name="Picture 4">
              <a:extLst>
                <a:ext uri="{FF2B5EF4-FFF2-40B4-BE49-F238E27FC236}">
                  <a16:creationId xmlns:a16="http://schemas.microsoft.com/office/drawing/2014/main" id="{C56450E2-20A2-4012-7D17-AD2D15C3938D}"/>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b="18315"/>
            <a:stretch/>
          </p:blipFill>
          <p:spPr>
            <a:xfrm>
              <a:off x="0" y="0"/>
              <a:ext cx="12192000" cy="2345707"/>
            </a:xfrm>
            <a:prstGeom prst="rect">
              <a:avLst/>
            </a:prstGeom>
          </p:spPr>
        </p:pic>
        <p:pic>
          <p:nvPicPr>
            <p:cNvPr id="6" name="Picture 5">
              <a:extLst>
                <a:ext uri="{FF2B5EF4-FFF2-40B4-BE49-F238E27FC236}">
                  <a16:creationId xmlns:a16="http://schemas.microsoft.com/office/drawing/2014/main" id="{F1335082-5A78-709C-0DEC-000AE320D500}"/>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r="-131" b="18315"/>
            <a:stretch/>
          </p:blipFill>
          <p:spPr>
            <a:xfrm>
              <a:off x="2621435" y="0"/>
              <a:ext cx="9480550" cy="2345707"/>
            </a:xfrm>
            <a:prstGeom prst="rect">
              <a:avLst/>
            </a:prstGeom>
          </p:spPr>
        </p:pic>
      </p:grpSp>
      <p:sp>
        <p:nvSpPr>
          <p:cNvPr id="7" name="object 76">
            <a:extLst>
              <a:ext uri="{FF2B5EF4-FFF2-40B4-BE49-F238E27FC236}">
                <a16:creationId xmlns:a16="http://schemas.microsoft.com/office/drawing/2014/main" id="{DFBB60F9-F32A-A38C-E625-CBDCF8C0BA0B}"/>
              </a:ext>
              <a:ext uri="{C183D7F6-B498-43B3-948B-1728B52AA6E4}">
                <adec:decorative xmlns:adec="http://schemas.microsoft.com/office/drawing/2017/decorative" val="1"/>
              </a:ext>
            </a:extLst>
          </p:cNvPr>
          <p:cNvSpPr/>
          <p:nvPr userDrawn="1"/>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defTabSz="554492"/>
            <a:endParaRPr sz="1092">
              <a:solidFill>
                <a:prstClr val="black"/>
              </a:solidFill>
              <a:latin typeface="Ubuntu"/>
            </a:endParaRPr>
          </a:p>
        </p:txBody>
      </p:sp>
      <p:sp>
        <p:nvSpPr>
          <p:cNvPr id="8" name="Retângulo 43">
            <a:extLst>
              <a:ext uri="{FF2B5EF4-FFF2-40B4-BE49-F238E27FC236}">
                <a16:creationId xmlns:a16="http://schemas.microsoft.com/office/drawing/2014/main" id="{E34217B5-96C7-E22B-07A3-3C01A50296DD}"/>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9" name="Rectangle 27">
            <a:extLst>
              <a:ext uri="{FF2B5EF4-FFF2-40B4-BE49-F238E27FC236}">
                <a16:creationId xmlns:a16="http://schemas.microsoft.com/office/drawing/2014/main" id="{5ACABB0D-2242-46BB-B686-9A94B09EF352}"/>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Restricted © Capgemini 2023. All rights reserved  |</a:t>
            </a:r>
          </a:p>
        </p:txBody>
      </p:sp>
      <p:sp>
        <p:nvSpPr>
          <p:cNvPr id="10" name="TextBox 9">
            <a:extLst>
              <a:ext uri="{FF2B5EF4-FFF2-40B4-BE49-F238E27FC236}">
                <a16:creationId xmlns:a16="http://schemas.microsoft.com/office/drawing/2014/main" id="{FBA9777B-D77A-1CC9-A7C4-780AD55E74B8}"/>
              </a:ext>
            </a:extLst>
          </p:cNvPr>
          <p:cNvSpPr txBox="1"/>
          <p:nvPr userDrawn="1"/>
        </p:nvSpPr>
        <p:spPr>
          <a:xfrm>
            <a:off x="6005513" y="6473711"/>
            <a:ext cx="3424526" cy="307777"/>
          </a:xfrm>
          <a:prstGeom prst="rect">
            <a:avLst/>
          </a:prstGeom>
          <a:noFill/>
        </p:spPr>
        <p:txBody>
          <a:bodyPr wrap="square" rtlCol="0" anchor="ctr">
            <a:spAutoFit/>
          </a:bodyPr>
          <a:lstStyle/>
          <a:p>
            <a:pPr algn="ctr"/>
            <a:r>
              <a:rPr lang="en-IN" sz="1400">
                <a:solidFill>
                  <a:schemeClr val="accent1"/>
                </a:solidFill>
              </a:rPr>
              <a:t>Powered by Gen AI For CX Foundry</a:t>
            </a:r>
          </a:p>
        </p:txBody>
      </p:sp>
    </p:spTree>
    <p:extLst>
      <p:ext uri="{BB962C8B-B14F-4D97-AF65-F5344CB8AC3E}">
        <p14:creationId xmlns:p14="http://schemas.microsoft.com/office/powerpoint/2010/main" val="586983362"/>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
        <p:nvSpPr>
          <p:cNvPr id="24" name="Rectangle 23">
            <a:extLst>
              <a:ext uri="{FF2B5EF4-FFF2-40B4-BE49-F238E27FC236}">
                <a16:creationId xmlns:a16="http://schemas.microsoft.com/office/drawing/2014/main" id="{DD8AE2E2-9B77-D075-D684-724439078943}"/>
              </a:ext>
            </a:extLst>
          </p:cNvPr>
          <p:cNvSpPr/>
          <p:nvPr userDrawn="1"/>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36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2 global revenues of €22 billion.</a:t>
            </a:r>
          </a:p>
        </p:txBody>
      </p:sp>
      <p:sp>
        <p:nvSpPr>
          <p:cNvPr id="25" name="Rectangle 24">
            <a:extLst>
              <a:ext uri="{FF2B5EF4-FFF2-40B4-BE49-F238E27FC236}">
                <a16:creationId xmlns:a16="http://schemas.microsoft.com/office/drawing/2014/main" id="{B93EC93D-640C-01BD-A033-E20DEF44E56B}"/>
              </a:ext>
            </a:extLst>
          </p:cNvPr>
          <p:cNvSpPr/>
          <p:nvPr userDrawn="1"/>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26" name="Rectangle 25">
            <a:extLst>
              <a:ext uri="{FF2B5EF4-FFF2-40B4-BE49-F238E27FC236}">
                <a16:creationId xmlns:a16="http://schemas.microsoft.com/office/drawing/2014/main" id="{71B1E23D-5869-23B5-346C-0400A6ABB057}"/>
              </a:ext>
            </a:extLst>
          </p:cNvPr>
          <p:cNvSpPr/>
          <p:nvPr userDrawn="1"/>
        </p:nvSpPr>
        <p:spPr>
          <a:xfrm>
            <a:off x="6536184" y="476757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sp>
        <p:nvSpPr>
          <p:cNvPr id="27" name="TextBox 26">
            <a:extLst>
              <a:ext uri="{FF2B5EF4-FFF2-40B4-BE49-F238E27FC236}">
                <a16:creationId xmlns:a16="http://schemas.microsoft.com/office/drawing/2014/main" id="{0E4D6497-98A9-E1B9-7439-4CC089BCA940}"/>
              </a:ext>
            </a:extLst>
          </p:cNvPr>
          <p:cNvSpPr txBox="1"/>
          <p:nvPr userDrawn="1"/>
        </p:nvSpPr>
        <p:spPr>
          <a:xfrm>
            <a:off x="6536183" y="5036752"/>
            <a:ext cx="4845719" cy="692497"/>
          </a:xfrm>
          <a:prstGeom prst="rect">
            <a:avLst/>
          </a:prstGeom>
          <a:solidFill>
            <a:schemeClr val="accent4"/>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Ubuntu"/>
                <a:ea typeface="+mn-ea"/>
                <a:cs typeface="+mn-cs"/>
              </a:rPr>
              <a:t>Capgemini in India comprises over 185,000 team members working across 13 locations: Bangalore, Bhubaneswar, Chennai, Coimbatore, Gandhinagar, Gurugram, Hyderabad, Kolkata, Mumbai, Noida, Pune, Salem and Tiruchirappalli. </a:t>
            </a:r>
            <a:br>
              <a:rPr kumimoji="0" lang="en-US" sz="900" b="0" i="0" u="none" strike="noStrike" kern="1200" cap="none" spc="0" normalizeH="0" baseline="0" noProof="0">
                <a:ln>
                  <a:noFill/>
                </a:ln>
                <a:solidFill>
                  <a:srgbClr val="FFFFFF"/>
                </a:solidFill>
                <a:effectLst/>
                <a:uLnTx/>
                <a:uFillTx/>
                <a:latin typeface="Ubuntu"/>
                <a:ea typeface="+mn-ea"/>
                <a:cs typeface="+mn-cs"/>
              </a:rPr>
            </a:br>
            <a:r>
              <a:rPr kumimoji="0" lang="en-US" sz="900" b="0" i="0" u="none" strike="noStrike" kern="1200" cap="none" spc="0" normalizeH="0" baseline="0" noProof="0">
                <a:ln>
                  <a:noFill/>
                </a:ln>
                <a:solidFill>
                  <a:srgbClr val="FFFFFF"/>
                </a:solidFill>
                <a:effectLst/>
                <a:uLnTx/>
                <a:uFillTx/>
                <a:latin typeface="Ubuntu"/>
                <a:ea typeface="+mn-ea"/>
                <a:cs typeface="+mn-cs"/>
              </a:rPr>
              <a:t>Learn more about Capgemini in India at </a:t>
            </a:r>
            <a:r>
              <a:rPr kumimoji="0" lang="en-US" sz="900" b="0" i="0" u="sng" strike="noStrike" kern="1200" cap="none" spc="0" normalizeH="0" baseline="0" noProof="0">
                <a:ln>
                  <a:noFill/>
                </a:ln>
                <a:solidFill>
                  <a:srgbClr val="FFFFFF"/>
                </a:solidFill>
                <a:effectLst/>
                <a:uLnTx/>
                <a:uFillTx/>
                <a:latin typeface="Ubuntu"/>
                <a:ea typeface="+mn-ea"/>
                <a:cs typeface="+mn-cs"/>
                <a:hlinkClick r:id="rId14"/>
              </a:rPr>
              <a:t>www.capgemini.com/in-en</a:t>
            </a:r>
            <a:r>
              <a:rPr kumimoji="0" lang="en-US" sz="900" b="0" i="0" u="none" strike="noStrike" kern="1200" cap="none" spc="0" normalizeH="0" baseline="0" noProof="0">
                <a:ln>
                  <a:noFill/>
                </a:ln>
                <a:solidFill>
                  <a:srgbClr val="FFFFFF"/>
                </a:solidFill>
                <a:effectLst/>
                <a:uLnTx/>
                <a:uFillTx/>
                <a:latin typeface="Ubuntu"/>
                <a:ea typeface="+mn-ea"/>
                <a:cs typeface="+mn-cs"/>
                <a:hlinkClick r:id="rId14"/>
              </a:rPr>
              <a:t>. </a:t>
            </a:r>
            <a:endParaRPr kumimoji="0" lang="en-IN" sz="90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1721526230"/>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41334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7" name="Picture Placeholder 24">
            <a:extLst>
              <a:ext uri="{FF2B5EF4-FFF2-40B4-BE49-F238E27FC236}">
                <a16:creationId xmlns:a16="http://schemas.microsoft.com/office/drawing/2014/main" id="{AA5F3EBC-E5BB-4F23-8682-D1866F0D4F8F}"/>
              </a:ext>
            </a:extLst>
          </p:cNvPr>
          <p:cNvSpPr>
            <a:spLocks noGrp="1"/>
          </p:cNvSpPr>
          <p:nvPr>
            <p:ph type="pic" sz="quarter" idx="10" hasCustomPrompt="1"/>
          </p:nvPr>
        </p:nvSpPr>
        <p:spPr>
          <a:xfrm>
            <a:off x="0" y="0"/>
            <a:ext cx="12192000" cy="6858000"/>
          </a:xfrm>
          <a:custGeom>
            <a:avLst/>
            <a:gdLst>
              <a:gd name="connsiteX0" fmla="*/ 9343829 w 12192000"/>
              <a:gd name="connsiteY0" fmla="*/ 959868 h 6858000"/>
              <a:gd name="connsiteX1" fmla="*/ 9294981 w 12192000"/>
              <a:gd name="connsiteY1" fmla="*/ 1078731 h 6858000"/>
              <a:gd name="connsiteX2" fmla="*/ 9271643 w 12192000"/>
              <a:gd name="connsiteY2" fmla="*/ 1047794 h 6858000"/>
              <a:gd name="connsiteX3" fmla="*/ 9343829 w 12192000"/>
              <a:gd name="connsiteY3" fmla="*/ 959868 h 6858000"/>
              <a:gd name="connsiteX4" fmla="*/ 11404665 w 12192000"/>
              <a:gd name="connsiteY4" fmla="*/ 772073 h 6858000"/>
              <a:gd name="connsiteX5" fmla="*/ 11422576 w 12192000"/>
              <a:gd name="connsiteY5" fmla="*/ 775872 h 6858000"/>
              <a:gd name="connsiteX6" fmla="*/ 11435602 w 12192000"/>
              <a:gd name="connsiteY6" fmla="*/ 786185 h 6858000"/>
              <a:gd name="connsiteX7" fmla="*/ 11443743 w 12192000"/>
              <a:gd name="connsiteY7" fmla="*/ 801382 h 6858000"/>
              <a:gd name="connsiteX8" fmla="*/ 11446457 w 12192000"/>
              <a:gd name="connsiteY8" fmla="*/ 819836 h 6858000"/>
              <a:gd name="connsiteX9" fmla="*/ 11359074 w 12192000"/>
              <a:gd name="connsiteY9" fmla="*/ 819836 h 6858000"/>
              <a:gd name="connsiteX10" fmla="*/ 11363416 w 12192000"/>
              <a:gd name="connsiteY10" fmla="*/ 802467 h 6858000"/>
              <a:gd name="connsiteX11" fmla="*/ 11372100 w 12192000"/>
              <a:gd name="connsiteY11" fmla="*/ 787270 h 6858000"/>
              <a:gd name="connsiteX12" fmla="*/ 11385668 w 12192000"/>
              <a:gd name="connsiteY12" fmla="*/ 776415 h 6858000"/>
              <a:gd name="connsiteX13" fmla="*/ 11404665 w 12192000"/>
              <a:gd name="connsiteY13" fmla="*/ 772073 h 6858000"/>
              <a:gd name="connsiteX14" fmla="*/ 9493087 w 12192000"/>
              <a:gd name="connsiteY14" fmla="*/ 766103 h 6858000"/>
              <a:gd name="connsiteX15" fmla="*/ 9514797 w 12192000"/>
              <a:gd name="connsiteY15" fmla="*/ 799212 h 6858000"/>
              <a:gd name="connsiteX16" fmla="*/ 9467034 w 12192000"/>
              <a:gd name="connsiteY16" fmla="*/ 869227 h 6858000"/>
              <a:gd name="connsiteX17" fmla="*/ 9493087 w 12192000"/>
              <a:gd name="connsiteY17" fmla="*/ 766103 h 6858000"/>
              <a:gd name="connsiteX18" fmla="*/ 11119177 w 12192000"/>
              <a:gd name="connsiteY18" fmla="*/ 740594 h 6858000"/>
              <a:gd name="connsiteX19" fmla="*/ 11189735 w 12192000"/>
              <a:gd name="connsiteY19" fmla="*/ 924046 h 6858000"/>
              <a:gd name="connsiteX20" fmla="*/ 11213074 w 12192000"/>
              <a:gd name="connsiteY20" fmla="*/ 944670 h 6858000"/>
              <a:gd name="connsiteX21" fmla="*/ 11236955 w 12192000"/>
              <a:gd name="connsiteY21" fmla="*/ 944670 h 6858000"/>
              <a:gd name="connsiteX22" fmla="*/ 11314569 w 12192000"/>
              <a:gd name="connsiteY22" fmla="*/ 740594 h 6858000"/>
              <a:gd name="connsiteX23" fmla="*/ 11278747 w 12192000"/>
              <a:gd name="connsiteY23" fmla="*/ 740594 h 6858000"/>
              <a:gd name="connsiteX24" fmla="*/ 11257580 w 12192000"/>
              <a:gd name="connsiteY24" fmla="*/ 761219 h 6858000"/>
              <a:gd name="connsiteX25" fmla="*/ 11217416 w 12192000"/>
              <a:gd name="connsiteY25" fmla="*/ 876825 h 6858000"/>
              <a:gd name="connsiteX26" fmla="*/ 11175624 w 12192000"/>
              <a:gd name="connsiteY26" fmla="*/ 763390 h 6858000"/>
              <a:gd name="connsiteX27" fmla="*/ 11153913 w 12192000"/>
              <a:gd name="connsiteY27" fmla="*/ 740594 h 6858000"/>
              <a:gd name="connsiteX28" fmla="*/ 11130575 w 12192000"/>
              <a:gd name="connsiteY28" fmla="*/ 740594 h 6858000"/>
              <a:gd name="connsiteX29" fmla="*/ 10865711 w 12192000"/>
              <a:gd name="connsiteY29" fmla="*/ 740051 h 6858000"/>
              <a:gd name="connsiteX30" fmla="*/ 10865711 w 12192000"/>
              <a:gd name="connsiteY30" fmla="*/ 910476 h 6858000"/>
              <a:gd name="connsiteX31" fmla="*/ 10899904 w 12192000"/>
              <a:gd name="connsiteY31" fmla="*/ 944670 h 6858000"/>
              <a:gd name="connsiteX32" fmla="*/ 10912930 w 12192000"/>
              <a:gd name="connsiteY32" fmla="*/ 944670 h 6858000"/>
              <a:gd name="connsiteX33" fmla="*/ 10912930 w 12192000"/>
              <a:gd name="connsiteY33" fmla="*/ 771531 h 6858000"/>
              <a:gd name="connsiteX34" fmla="*/ 10881993 w 12192000"/>
              <a:gd name="connsiteY34" fmla="*/ 740051 h 6858000"/>
              <a:gd name="connsiteX35" fmla="*/ 11599515 w 12192000"/>
              <a:gd name="connsiteY35" fmla="*/ 735166 h 6858000"/>
              <a:gd name="connsiteX36" fmla="*/ 11550667 w 12192000"/>
              <a:gd name="connsiteY36" fmla="*/ 738965 h 6858000"/>
              <a:gd name="connsiteX37" fmla="*/ 11514845 w 12192000"/>
              <a:gd name="connsiteY37" fmla="*/ 746563 h 6858000"/>
              <a:gd name="connsiteX38" fmla="*/ 11514845 w 12192000"/>
              <a:gd name="connsiteY38" fmla="*/ 918617 h 6858000"/>
              <a:gd name="connsiteX39" fmla="*/ 11514845 w 12192000"/>
              <a:gd name="connsiteY39" fmla="*/ 924045 h 6858000"/>
              <a:gd name="connsiteX40" fmla="*/ 11536012 w 12192000"/>
              <a:gd name="connsiteY40" fmla="*/ 945212 h 6858000"/>
              <a:gd name="connsiteX41" fmla="*/ 11536555 w 12192000"/>
              <a:gd name="connsiteY41" fmla="*/ 945212 h 6858000"/>
              <a:gd name="connsiteX42" fmla="*/ 11562607 w 12192000"/>
              <a:gd name="connsiteY42" fmla="*/ 945212 h 6858000"/>
              <a:gd name="connsiteX43" fmla="*/ 11562607 w 12192000"/>
              <a:gd name="connsiteY43" fmla="*/ 779129 h 6858000"/>
              <a:gd name="connsiteX44" fmla="*/ 11577261 w 12192000"/>
              <a:gd name="connsiteY44" fmla="*/ 776958 h 6858000"/>
              <a:gd name="connsiteX45" fmla="*/ 11596258 w 12192000"/>
              <a:gd name="connsiteY45" fmla="*/ 775872 h 6858000"/>
              <a:gd name="connsiteX46" fmla="*/ 11616883 w 12192000"/>
              <a:gd name="connsiteY46" fmla="*/ 779129 h 6858000"/>
              <a:gd name="connsiteX47" fmla="*/ 11630451 w 12192000"/>
              <a:gd name="connsiteY47" fmla="*/ 789441 h 6858000"/>
              <a:gd name="connsiteX48" fmla="*/ 11637507 w 12192000"/>
              <a:gd name="connsiteY48" fmla="*/ 808437 h 6858000"/>
              <a:gd name="connsiteX49" fmla="*/ 11639678 w 12192000"/>
              <a:gd name="connsiteY49" fmla="*/ 836661 h 6858000"/>
              <a:gd name="connsiteX50" fmla="*/ 11639678 w 12192000"/>
              <a:gd name="connsiteY50" fmla="*/ 918074 h 6858000"/>
              <a:gd name="connsiteX51" fmla="*/ 11639678 w 12192000"/>
              <a:gd name="connsiteY51" fmla="*/ 923502 h 6858000"/>
              <a:gd name="connsiteX52" fmla="*/ 11660845 w 12192000"/>
              <a:gd name="connsiteY52" fmla="*/ 944669 h 6858000"/>
              <a:gd name="connsiteX53" fmla="*/ 11687441 w 12192000"/>
              <a:gd name="connsiteY53" fmla="*/ 944669 h 6858000"/>
              <a:gd name="connsiteX54" fmla="*/ 11687441 w 12192000"/>
              <a:gd name="connsiteY54" fmla="*/ 829605 h 6858000"/>
              <a:gd name="connsiteX55" fmla="*/ 11682013 w 12192000"/>
              <a:gd name="connsiteY55" fmla="*/ 791069 h 6858000"/>
              <a:gd name="connsiteX56" fmla="*/ 11667902 w 12192000"/>
              <a:gd name="connsiteY56" fmla="*/ 761218 h 6858000"/>
              <a:gd name="connsiteX57" fmla="*/ 11641306 w 12192000"/>
              <a:gd name="connsiteY57" fmla="*/ 742221 h 6858000"/>
              <a:gd name="connsiteX58" fmla="*/ 11599515 w 12192000"/>
              <a:gd name="connsiteY58" fmla="*/ 735166 h 6858000"/>
              <a:gd name="connsiteX59" fmla="*/ 11026367 w 12192000"/>
              <a:gd name="connsiteY59" fmla="*/ 735166 h 6858000"/>
              <a:gd name="connsiteX60" fmla="*/ 10977519 w 12192000"/>
              <a:gd name="connsiteY60" fmla="*/ 738965 h 6858000"/>
              <a:gd name="connsiteX61" fmla="*/ 10941697 w 12192000"/>
              <a:gd name="connsiteY61" fmla="*/ 746563 h 6858000"/>
              <a:gd name="connsiteX62" fmla="*/ 10941697 w 12192000"/>
              <a:gd name="connsiteY62" fmla="*/ 918617 h 6858000"/>
              <a:gd name="connsiteX63" fmla="*/ 10941697 w 12192000"/>
              <a:gd name="connsiteY63" fmla="*/ 924045 h 6858000"/>
              <a:gd name="connsiteX64" fmla="*/ 10962864 w 12192000"/>
              <a:gd name="connsiteY64" fmla="*/ 945212 h 6858000"/>
              <a:gd name="connsiteX65" fmla="*/ 10963407 w 12192000"/>
              <a:gd name="connsiteY65" fmla="*/ 945212 h 6858000"/>
              <a:gd name="connsiteX66" fmla="*/ 10989459 w 12192000"/>
              <a:gd name="connsiteY66" fmla="*/ 945212 h 6858000"/>
              <a:gd name="connsiteX67" fmla="*/ 10989459 w 12192000"/>
              <a:gd name="connsiteY67" fmla="*/ 779129 h 6858000"/>
              <a:gd name="connsiteX68" fmla="*/ 11004114 w 12192000"/>
              <a:gd name="connsiteY68" fmla="*/ 776958 h 6858000"/>
              <a:gd name="connsiteX69" fmla="*/ 11023110 w 12192000"/>
              <a:gd name="connsiteY69" fmla="*/ 775872 h 6858000"/>
              <a:gd name="connsiteX70" fmla="*/ 11043735 w 12192000"/>
              <a:gd name="connsiteY70" fmla="*/ 779129 h 6858000"/>
              <a:gd name="connsiteX71" fmla="*/ 11057303 w 12192000"/>
              <a:gd name="connsiteY71" fmla="*/ 789441 h 6858000"/>
              <a:gd name="connsiteX72" fmla="*/ 11064359 w 12192000"/>
              <a:gd name="connsiteY72" fmla="*/ 808437 h 6858000"/>
              <a:gd name="connsiteX73" fmla="*/ 11066530 w 12192000"/>
              <a:gd name="connsiteY73" fmla="*/ 836661 h 6858000"/>
              <a:gd name="connsiteX74" fmla="*/ 11066530 w 12192000"/>
              <a:gd name="connsiteY74" fmla="*/ 918074 h 6858000"/>
              <a:gd name="connsiteX75" fmla="*/ 11066530 w 12192000"/>
              <a:gd name="connsiteY75" fmla="*/ 923502 h 6858000"/>
              <a:gd name="connsiteX76" fmla="*/ 11087697 w 12192000"/>
              <a:gd name="connsiteY76" fmla="*/ 944669 h 6858000"/>
              <a:gd name="connsiteX77" fmla="*/ 11114293 w 12192000"/>
              <a:gd name="connsiteY77" fmla="*/ 944669 h 6858000"/>
              <a:gd name="connsiteX78" fmla="*/ 11114293 w 12192000"/>
              <a:gd name="connsiteY78" fmla="*/ 829605 h 6858000"/>
              <a:gd name="connsiteX79" fmla="*/ 11108865 w 12192000"/>
              <a:gd name="connsiteY79" fmla="*/ 791069 h 6858000"/>
              <a:gd name="connsiteX80" fmla="*/ 11094754 w 12192000"/>
              <a:gd name="connsiteY80" fmla="*/ 761218 h 6858000"/>
              <a:gd name="connsiteX81" fmla="*/ 11068158 w 12192000"/>
              <a:gd name="connsiteY81" fmla="*/ 742221 h 6858000"/>
              <a:gd name="connsiteX82" fmla="*/ 11026367 w 12192000"/>
              <a:gd name="connsiteY82" fmla="*/ 735166 h 6858000"/>
              <a:gd name="connsiteX83" fmla="*/ 11405208 w 12192000"/>
              <a:gd name="connsiteY83" fmla="*/ 732995 h 6858000"/>
              <a:gd name="connsiteX84" fmla="*/ 11369929 w 12192000"/>
              <a:gd name="connsiteY84" fmla="*/ 740050 h 6858000"/>
              <a:gd name="connsiteX85" fmla="*/ 11339535 w 12192000"/>
              <a:gd name="connsiteY85" fmla="*/ 760133 h 6858000"/>
              <a:gd name="connsiteX86" fmla="*/ 11318367 w 12192000"/>
              <a:gd name="connsiteY86" fmla="*/ 793783 h 6858000"/>
              <a:gd name="connsiteX87" fmla="*/ 11310226 w 12192000"/>
              <a:gd name="connsiteY87" fmla="*/ 841003 h 6858000"/>
              <a:gd name="connsiteX88" fmla="*/ 11316739 w 12192000"/>
              <a:gd name="connsiteY88" fmla="*/ 882252 h 6858000"/>
              <a:gd name="connsiteX89" fmla="*/ 11335735 w 12192000"/>
              <a:gd name="connsiteY89" fmla="*/ 915903 h 6858000"/>
              <a:gd name="connsiteX90" fmla="*/ 11368300 w 12192000"/>
              <a:gd name="connsiteY90" fmla="*/ 938156 h 6858000"/>
              <a:gd name="connsiteX91" fmla="*/ 11414977 w 12192000"/>
              <a:gd name="connsiteY91" fmla="*/ 946297 h 6858000"/>
              <a:gd name="connsiteX92" fmla="*/ 11435602 w 12192000"/>
              <a:gd name="connsiteY92" fmla="*/ 945212 h 6858000"/>
              <a:gd name="connsiteX93" fmla="*/ 11454598 w 12192000"/>
              <a:gd name="connsiteY93" fmla="*/ 942498 h 6858000"/>
              <a:gd name="connsiteX94" fmla="*/ 11470338 w 12192000"/>
              <a:gd name="connsiteY94" fmla="*/ 938699 h 6858000"/>
              <a:gd name="connsiteX95" fmla="*/ 11481193 w 12192000"/>
              <a:gd name="connsiteY95" fmla="*/ 934357 h 6858000"/>
              <a:gd name="connsiteX96" fmla="*/ 11477937 w 12192000"/>
              <a:gd name="connsiteY96" fmla="*/ 913190 h 6858000"/>
              <a:gd name="connsiteX97" fmla="*/ 11459483 w 12192000"/>
              <a:gd name="connsiteY97" fmla="*/ 900706 h 6858000"/>
              <a:gd name="connsiteX98" fmla="*/ 11452970 w 12192000"/>
              <a:gd name="connsiteY98" fmla="*/ 902334 h 6858000"/>
              <a:gd name="connsiteX99" fmla="*/ 11421490 w 12192000"/>
              <a:gd name="connsiteY99" fmla="*/ 905591 h 6858000"/>
              <a:gd name="connsiteX100" fmla="*/ 11376984 w 12192000"/>
              <a:gd name="connsiteY100" fmla="*/ 892022 h 6858000"/>
              <a:gd name="connsiteX101" fmla="*/ 11359617 w 12192000"/>
              <a:gd name="connsiteY101" fmla="*/ 854029 h 6858000"/>
              <a:gd name="connsiteX102" fmla="*/ 11493677 w 12192000"/>
              <a:gd name="connsiteY102" fmla="*/ 854029 h 6858000"/>
              <a:gd name="connsiteX103" fmla="*/ 11494219 w 12192000"/>
              <a:gd name="connsiteY103" fmla="*/ 845345 h 6858000"/>
              <a:gd name="connsiteX104" fmla="*/ 11494219 w 12192000"/>
              <a:gd name="connsiteY104" fmla="*/ 836661 h 6858000"/>
              <a:gd name="connsiteX105" fmla="*/ 11470881 w 12192000"/>
              <a:gd name="connsiteY105" fmla="*/ 759047 h 6858000"/>
              <a:gd name="connsiteX106" fmla="*/ 11405208 w 12192000"/>
              <a:gd name="connsiteY106" fmla="*/ 732995 h 6858000"/>
              <a:gd name="connsiteX107" fmla="*/ 11753113 w 12192000"/>
              <a:gd name="connsiteY107" fmla="*/ 676006 h 6858000"/>
              <a:gd name="connsiteX108" fmla="*/ 11726518 w 12192000"/>
              <a:gd name="connsiteY108" fmla="*/ 680348 h 6858000"/>
              <a:gd name="connsiteX109" fmla="*/ 11705894 w 12192000"/>
              <a:gd name="connsiteY109" fmla="*/ 704229 h 6858000"/>
              <a:gd name="connsiteX110" fmla="*/ 11705894 w 12192000"/>
              <a:gd name="connsiteY110" fmla="*/ 860543 h 6858000"/>
              <a:gd name="connsiteX111" fmla="*/ 11709150 w 12192000"/>
              <a:gd name="connsiteY111" fmla="*/ 896907 h 6858000"/>
              <a:gd name="connsiteX112" fmla="*/ 11721091 w 12192000"/>
              <a:gd name="connsiteY112" fmla="*/ 924045 h 6858000"/>
              <a:gd name="connsiteX113" fmla="*/ 11744429 w 12192000"/>
              <a:gd name="connsiteY113" fmla="*/ 940870 h 6858000"/>
              <a:gd name="connsiteX114" fmla="*/ 11780793 w 12192000"/>
              <a:gd name="connsiteY114" fmla="*/ 946840 h 6858000"/>
              <a:gd name="connsiteX115" fmla="*/ 11812273 w 12192000"/>
              <a:gd name="connsiteY115" fmla="*/ 943041 h 6858000"/>
              <a:gd name="connsiteX116" fmla="*/ 11818786 w 12192000"/>
              <a:gd name="connsiteY116" fmla="*/ 941413 h 6858000"/>
              <a:gd name="connsiteX117" fmla="*/ 11830726 w 12192000"/>
              <a:gd name="connsiteY117" fmla="*/ 921874 h 6858000"/>
              <a:gd name="connsiteX118" fmla="*/ 11825841 w 12192000"/>
              <a:gd name="connsiteY118" fmla="*/ 898535 h 6858000"/>
              <a:gd name="connsiteX119" fmla="*/ 11810102 w 12192000"/>
              <a:gd name="connsiteY119" fmla="*/ 903420 h 6858000"/>
              <a:gd name="connsiteX120" fmla="*/ 11787306 w 12192000"/>
              <a:gd name="connsiteY120" fmla="*/ 906134 h 6858000"/>
              <a:gd name="connsiteX121" fmla="*/ 11760711 w 12192000"/>
              <a:gd name="connsiteY121" fmla="*/ 895821 h 6858000"/>
              <a:gd name="connsiteX122" fmla="*/ 11753113 w 12192000"/>
              <a:gd name="connsiteY122" fmla="*/ 860543 h 6858000"/>
              <a:gd name="connsiteX123" fmla="*/ 11753113 w 12192000"/>
              <a:gd name="connsiteY123" fmla="*/ 777501 h 6858000"/>
              <a:gd name="connsiteX124" fmla="*/ 11804674 w 12192000"/>
              <a:gd name="connsiteY124" fmla="*/ 777501 h 6858000"/>
              <a:gd name="connsiteX125" fmla="*/ 11825841 w 12192000"/>
              <a:gd name="connsiteY125" fmla="*/ 756334 h 6858000"/>
              <a:gd name="connsiteX126" fmla="*/ 11825841 w 12192000"/>
              <a:gd name="connsiteY126" fmla="*/ 739508 h 6858000"/>
              <a:gd name="connsiteX127" fmla="*/ 11753113 w 12192000"/>
              <a:gd name="connsiteY127" fmla="*/ 739508 h 6858000"/>
              <a:gd name="connsiteX128" fmla="*/ 10315900 w 12192000"/>
              <a:gd name="connsiteY128" fmla="*/ 658094 h 6858000"/>
              <a:gd name="connsiteX129" fmla="*/ 10292562 w 12192000"/>
              <a:gd name="connsiteY129" fmla="*/ 684147 h 6858000"/>
              <a:gd name="connsiteX130" fmla="*/ 10315900 w 12192000"/>
              <a:gd name="connsiteY130" fmla="*/ 708028 h 6858000"/>
              <a:gd name="connsiteX131" fmla="*/ 10339238 w 12192000"/>
              <a:gd name="connsiteY131" fmla="*/ 681976 h 6858000"/>
              <a:gd name="connsiteX132" fmla="*/ 10315900 w 12192000"/>
              <a:gd name="connsiteY132" fmla="*/ 658094 h 6858000"/>
              <a:gd name="connsiteX133" fmla="*/ 10889050 w 12192000"/>
              <a:gd name="connsiteY133" fmla="*/ 651039 h 6858000"/>
              <a:gd name="connsiteX134" fmla="*/ 10868425 w 12192000"/>
              <a:gd name="connsiteY134" fmla="*/ 658637 h 6858000"/>
              <a:gd name="connsiteX135" fmla="*/ 10859741 w 12192000"/>
              <a:gd name="connsiteY135" fmla="*/ 680348 h 6858000"/>
              <a:gd name="connsiteX136" fmla="*/ 10868425 w 12192000"/>
              <a:gd name="connsiteY136" fmla="*/ 701515 h 6858000"/>
              <a:gd name="connsiteX137" fmla="*/ 10889050 w 12192000"/>
              <a:gd name="connsiteY137" fmla="*/ 709114 h 6858000"/>
              <a:gd name="connsiteX138" fmla="*/ 10909132 w 12192000"/>
              <a:gd name="connsiteY138" fmla="*/ 701515 h 6858000"/>
              <a:gd name="connsiteX139" fmla="*/ 10917816 w 12192000"/>
              <a:gd name="connsiteY139" fmla="*/ 680348 h 6858000"/>
              <a:gd name="connsiteX140" fmla="*/ 10909132 w 12192000"/>
              <a:gd name="connsiteY140" fmla="*/ 658637 h 6858000"/>
              <a:gd name="connsiteX141" fmla="*/ 10889050 w 12192000"/>
              <a:gd name="connsiteY141" fmla="*/ 651039 h 6858000"/>
              <a:gd name="connsiteX142" fmla="*/ 9964195 w 12192000"/>
              <a:gd name="connsiteY142" fmla="*/ 647783 h 6858000"/>
              <a:gd name="connsiteX143" fmla="*/ 9938686 w 12192000"/>
              <a:gd name="connsiteY143" fmla="*/ 674921 h 6858000"/>
              <a:gd name="connsiteX144" fmla="*/ 9964195 w 12192000"/>
              <a:gd name="connsiteY144" fmla="*/ 700431 h 6858000"/>
              <a:gd name="connsiteX145" fmla="*/ 9988077 w 12192000"/>
              <a:gd name="connsiteY145" fmla="*/ 673293 h 6858000"/>
              <a:gd name="connsiteX146" fmla="*/ 9964195 w 12192000"/>
              <a:gd name="connsiteY146" fmla="*/ 647783 h 6858000"/>
              <a:gd name="connsiteX147" fmla="*/ 8724004 w 12192000"/>
              <a:gd name="connsiteY147" fmla="*/ 623359 h 6858000"/>
              <a:gd name="connsiteX148" fmla="*/ 8576918 w 12192000"/>
              <a:gd name="connsiteY148" fmla="*/ 804096 h 6858000"/>
              <a:gd name="connsiteX149" fmla="*/ 8698495 w 12192000"/>
              <a:gd name="connsiteY149" fmla="*/ 962039 h 6858000"/>
              <a:gd name="connsiteX150" fmla="*/ 8815187 w 12192000"/>
              <a:gd name="connsiteY150" fmla="*/ 888766 h 6858000"/>
              <a:gd name="connsiteX151" fmla="*/ 8872176 w 12192000"/>
              <a:gd name="connsiteY151" fmla="*/ 947927 h 6858000"/>
              <a:gd name="connsiteX152" fmla="*/ 8941105 w 12192000"/>
              <a:gd name="connsiteY152" fmla="*/ 895822 h 6858000"/>
              <a:gd name="connsiteX153" fmla="*/ 8991582 w 12192000"/>
              <a:gd name="connsiteY153" fmla="*/ 947927 h 6858000"/>
              <a:gd name="connsiteX154" fmla="*/ 9036088 w 12192000"/>
              <a:gd name="connsiteY154" fmla="*/ 922960 h 6858000"/>
              <a:gd name="connsiteX155" fmla="*/ 9088192 w 12192000"/>
              <a:gd name="connsiteY155" fmla="*/ 1080902 h 6858000"/>
              <a:gd name="connsiteX156" fmla="*/ 9075708 w 12192000"/>
              <a:gd name="connsiteY156" fmla="*/ 948469 h 6858000"/>
              <a:gd name="connsiteX157" fmla="*/ 9125099 w 12192000"/>
              <a:gd name="connsiteY157" fmla="*/ 771531 h 6858000"/>
              <a:gd name="connsiteX158" fmla="*/ 9151694 w 12192000"/>
              <a:gd name="connsiteY158" fmla="*/ 824179 h 6858000"/>
              <a:gd name="connsiteX159" fmla="*/ 9146810 w 12192000"/>
              <a:gd name="connsiteY159" fmla="*/ 870313 h 6858000"/>
              <a:gd name="connsiteX160" fmla="*/ 9086021 w 12192000"/>
              <a:gd name="connsiteY160" fmla="*/ 930016 h 6858000"/>
              <a:gd name="connsiteX161" fmla="*/ 9109359 w 12192000"/>
              <a:gd name="connsiteY161" fmla="*/ 948469 h 6858000"/>
              <a:gd name="connsiteX162" fmla="*/ 9183717 w 12192000"/>
              <a:gd name="connsiteY162" fmla="*/ 875198 h 6858000"/>
              <a:gd name="connsiteX163" fmla="*/ 9228223 w 12192000"/>
              <a:gd name="connsiteY163" fmla="*/ 841547 h 6858000"/>
              <a:gd name="connsiteX164" fmla="*/ 9227680 w 12192000"/>
              <a:gd name="connsiteY164" fmla="*/ 856201 h 6858000"/>
              <a:gd name="connsiteX165" fmla="*/ 9281955 w 12192000"/>
              <a:gd name="connsiteY165" fmla="*/ 932730 h 6858000"/>
              <a:gd name="connsiteX166" fmla="*/ 9341658 w 12192000"/>
              <a:gd name="connsiteY166" fmla="*/ 886595 h 6858000"/>
              <a:gd name="connsiteX167" fmla="*/ 9343286 w 12192000"/>
              <a:gd name="connsiteY167" fmla="*/ 931101 h 6858000"/>
              <a:gd name="connsiteX168" fmla="*/ 9231479 w 12192000"/>
              <a:gd name="connsiteY168" fmla="*/ 1049422 h 6858000"/>
              <a:gd name="connsiteX169" fmla="*/ 9290639 w 12192000"/>
              <a:gd name="connsiteY169" fmla="*/ 1111839 h 6858000"/>
              <a:gd name="connsiteX170" fmla="*/ 9381822 w 12192000"/>
              <a:gd name="connsiteY170" fmla="*/ 943585 h 6858000"/>
              <a:gd name="connsiteX171" fmla="*/ 9444239 w 12192000"/>
              <a:gd name="connsiteY171" fmla="*/ 914819 h 6858000"/>
              <a:gd name="connsiteX172" fmla="*/ 9507741 w 12192000"/>
              <a:gd name="connsiteY172" fmla="*/ 947927 h 6858000"/>
              <a:gd name="connsiteX173" fmla="*/ 9605980 w 12192000"/>
              <a:gd name="connsiteY173" fmla="*/ 881168 h 6858000"/>
              <a:gd name="connsiteX174" fmla="*/ 9637459 w 12192000"/>
              <a:gd name="connsiteY174" fmla="*/ 947927 h 6858000"/>
              <a:gd name="connsiteX175" fmla="*/ 9701504 w 12192000"/>
              <a:gd name="connsiteY175" fmla="*/ 775331 h 6858000"/>
              <a:gd name="connsiteX176" fmla="*/ 9754694 w 12192000"/>
              <a:gd name="connsiteY176" fmla="*/ 962039 h 6858000"/>
              <a:gd name="connsiteX177" fmla="*/ 9825795 w 12192000"/>
              <a:gd name="connsiteY177" fmla="*/ 797583 h 6858000"/>
              <a:gd name="connsiteX178" fmla="*/ 9887669 w 12192000"/>
              <a:gd name="connsiteY178" fmla="*/ 947927 h 6858000"/>
              <a:gd name="connsiteX179" fmla="*/ 9947372 w 12192000"/>
              <a:gd name="connsiteY179" fmla="*/ 863257 h 6858000"/>
              <a:gd name="connsiteX180" fmla="*/ 10009788 w 12192000"/>
              <a:gd name="connsiteY180" fmla="*/ 947927 h 6858000"/>
              <a:gd name="connsiteX181" fmla="*/ 10065149 w 12192000"/>
              <a:gd name="connsiteY181" fmla="*/ 896365 h 6858000"/>
              <a:gd name="connsiteX182" fmla="*/ 10094458 w 12192000"/>
              <a:gd name="connsiteY182" fmla="*/ 947927 h 6858000"/>
              <a:gd name="connsiteX183" fmla="*/ 10170444 w 12192000"/>
              <a:gd name="connsiteY183" fmla="*/ 775873 h 6858000"/>
              <a:gd name="connsiteX184" fmla="*/ 10252399 w 12192000"/>
              <a:gd name="connsiteY184" fmla="*/ 947927 h 6858000"/>
              <a:gd name="connsiteX185" fmla="*/ 10305590 w 12192000"/>
              <a:gd name="connsiteY185" fmla="*/ 889852 h 6858000"/>
              <a:gd name="connsiteX186" fmla="*/ 10351724 w 12192000"/>
              <a:gd name="connsiteY186" fmla="*/ 947927 h 6858000"/>
              <a:gd name="connsiteX187" fmla="*/ 10378861 w 12192000"/>
              <a:gd name="connsiteY187" fmla="*/ 932730 h 6858000"/>
              <a:gd name="connsiteX188" fmla="*/ 10334898 w 12192000"/>
              <a:gd name="connsiteY188" fmla="*/ 782929 h 6858000"/>
              <a:gd name="connsiteX189" fmla="*/ 10316445 w 12192000"/>
              <a:gd name="connsiteY189" fmla="*/ 740051 h 6858000"/>
              <a:gd name="connsiteX190" fmla="*/ 10297991 w 12192000"/>
              <a:gd name="connsiteY190" fmla="*/ 743851 h 6858000"/>
              <a:gd name="connsiteX191" fmla="*/ 10259998 w 12192000"/>
              <a:gd name="connsiteY191" fmla="*/ 908305 h 6858000"/>
              <a:gd name="connsiteX192" fmla="*/ 10177499 w 12192000"/>
              <a:gd name="connsiteY192" fmla="*/ 721055 h 6858000"/>
              <a:gd name="connsiteX193" fmla="*/ 10099886 w 12192000"/>
              <a:gd name="connsiteY193" fmla="*/ 870313 h 6858000"/>
              <a:gd name="connsiteX194" fmla="*/ 10094458 w 12192000"/>
              <a:gd name="connsiteY194" fmla="*/ 801383 h 6858000"/>
              <a:gd name="connsiteX195" fmla="*/ 10098257 w 12192000"/>
              <a:gd name="connsiteY195" fmla="*/ 764475 h 6858000"/>
              <a:gd name="connsiteX196" fmla="*/ 10060807 w 12192000"/>
              <a:gd name="connsiteY196" fmla="*/ 738423 h 6858000"/>
              <a:gd name="connsiteX197" fmla="*/ 10016302 w 12192000"/>
              <a:gd name="connsiteY197" fmla="*/ 909934 h 6858000"/>
              <a:gd name="connsiteX198" fmla="*/ 9980480 w 12192000"/>
              <a:gd name="connsiteY198" fmla="*/ 786186 h 6858000"/>
              <a:gd name="connsiteX199" fmla="*/ 9943572 w 12192000"/>
              <a:gd name="connsiteY199" fmla="*/ 737880 h 6858000"/>
              <a:gd name="connsiteX200" fmla="*/ 9897981 w 12192000"/>
              <a:gd name="connsiteY200" fmla="*/ 901250 h 6858000"/>
              <a:gd name="connsiteX201" fmla="*/ 9830137 w 12192000"/>
              <a:gd name="connsiteY201" fmla="*/ 740051 h 6858000"/>
              <a:gd name="connsiteX202" fmla="*/ 9762293 w 12192000"/>
              <a:gd name="connsiteY202" fmla="*/ 892566 h 6858000"/>
              <a:gd name="connsiteX203" fmla="*/ 9703132 w 12192000"/>
              <a:gd name="connsiteY203" fmla="*/ 721055 h 6858000"/>
              <a:gd name="connsiteX204" fmla="*/ 9642887 w 12192000"/>
              <a:gd name="connsiteY204" fmla="*/ 842632 h 6858000"/>
              <a:gd name="connsiteX205" fmla="*/ 9636916 w 12192000"/>
              <a:gd name="connsiteY205" fmla="*/ 841547 h 6858000"/>
              <a:gd name="connsiteX206" fmla="*/ 9636374 w 12192000"/>
              <a:gd name="connsiteY206" fmla="*/ 805725 h 6858000"/>
              <a:gd name="connsiteX207" fmla="*/ 9602723 w 12192000"/>
              <a:gd name="connsiteY207" fmla="*/ 734624 h 6858000"/>
              <a:gd name="connsiteX208" fmla="*/ 9515882 w 12192000"/>
              <a:gd name="connsiteY208" fmla="*/ 911562 h 6858000"/>
              <a:gd name="connsiteX209" fmla="*/ 9480061 w 12192000"/>
              <a:gd name="connsiteY209" fmla="*/ 894737 h 6858000"/>
              <a:gd name="connsiteX210" fmla="*/ 9552790 w 12192000"/>
              <a:gd name="connsiteY210" fmla="*/ 793784 h 6858000"/>
              <a:gd name="connsiteX211" fmla="*/ 9495800 w 12192000"/>
              <a:gd name="connsiteY211" fmla="*/ 734624 h 6858000"/>
              <a:gd name="connsiteX212" fmla="*/ 9418187 w 12192000"/>
              <a:gd name="connsiteY212" fmla="*/ 829606 h 6858000"/>
              <a:gd name="connsiteX213" fmla="*/ 9429584 w 12192000"/>
              <a:gd name="connsiteY213" fmla="*/ 889309 h 6858000"/>
              <a:gd name="connsiteX214" fmla="*/ 9381279 w 12192000"/>
              <a:gd name="connsiteY214" fmla="*/ 911562 h 6858000"/>
              <a:gd name="connsiteX215" fmla="*/ 9370967 w 12192000"/>
              <a:gd name="connsiteY215" fmla="*/ 775873 h 6858000"/>
              <a:gd name="connsiteX216" fmla="*/ 9334602 w 12192000"/>
              <a:gd name="connsiteY216" fmla="*/ 805182 h 6858000"/>
              <a:gd name="connsiteX217" fmla="*/ 9292268 w 12192000"/>
              <a:gd name="connsiteY217" fmla="*/ 892566 h 6858000"/>
              <a:gd name="connsiteX218" fmla="*/ 9270014 w 12192000"/>
              <a:gd name="connsiteY218" fmla="*/ 859457 h 6858000"/>
              <a:gd name="connsiteX219" fmla="*/ 9372052 w 12192000"/>
              <a:gd name="connsiteY219" fmla="*/ 761761 h 6858000"/>
              <a:gd name="connsiteX220" fmla="*/ 9338401 w 12192000"/>
              <a:gd name="connsiteY220" fmla="*/ 729196 h 6858000"/>
              <a:gd name="connsiteX221" fmla="*/ 9246133 w 12192000"/>
              <a:gd name="connsiteY221" fmla="*/ 785100 h 6858000"/>
              <a:gd name="connsiteX222" fmla="*/ 9191858 w 12192000"/>
              <a:gd name="connsiteY222" fmla="*/ 838833 h 6858000"/>
              <a:gd name="connsiteX223" fmla="*/ 9192943 w 12192000"/>
              <a:gd name="connsiteY223" fmla="*/ 823636 h 6858000"/>
              <a:gd name="connsiteX224" fmla="*/ 9128356 w 12192000"/>
              <a:gd name="connsiteY224" fmla="*/ 735709 h 6858000"/>
              <a:gd name="connsiteX225" fmla="*/ 9076252 w 12192000"/>
              <a:gd name="connsiteY225" fmla="*/ 775331 h 6858000"/>
              <a:gd name="connsiteX226" fmla="*/ 9055084 w 12192000"/>
              <a:gd name="connsiteY226" fmla="*/ 741137 h 6858000"/>
              <a:gd name="connsiteX227" fmla="*/ 9031746 w 12192000"/>
              <a:gd name="connsiteY227" fmla="*/ 747107 h 6858000"/>
              <a:gd name="connsiteX228" fmla="*/ 9037173 w 12192000"/>
              <a:gd name="connsiteY228" fmla="*/ 810067 h 6858000"/>
              <a:gd name="connsiteX229" fmla="*/ 8995924 w 12192000"/>
              <a:gd name="connsiteY229" fmla="*/ 915904 h 6858000"/>
              <a:gd name="connsiteX230" fmla="*/ 8967158 w 12192000"/>
              <a:gd name="connsiteY230" fmla="*/ 795412 h 6858000"/>
              <a:gd name="connsiteX231" fmla="*/ 8955760 w 12192000"/>
              <a:gd name="connsiteY231" fmla="*/ 793241 h 6858000"/>
              <a:gd name="connsiteX232" fmla="*/ 8926994 w 12192000"/>
              <a:gd name="connsiteY232" fmla="*/ 846974 h 6858000"/>
              <a:gd name="connsiteX233" fmla="*/ 8880317 w 12192000"/>
              <a:gd name="connsiteY233" fmla="*/ 911562 h 6858000"/>
              <a:gd name="connsiteX234" fmla="*/ 8855350 w 12192000"/>
              <a:gd name="connsiteY234" fmla="*/ 871941 h 6858000"/>
              <a:gd name="connsiteX235" fmla="*/ 8963359 w 12192000"/>
              <a:gd name="connsiteY235" fmla="*/ 778044 h 6858000"/>
              <a:gd name="connsiteX236" fmla="*/ 8930250 w 12192000"/>
              <a:gd name="connsiteY236" fmla="*/ 741680 h 6858000"/>
              <a:gd name="connsiteX237" fmla="*/ 8822243 w 12192000"/>
              <a:gd name="connsiteY237" fmla="*/ 822008 h 6858000"/>
              <a:gd name="connsiteX238" fmla="*/ 8708264 w 12192000"/>
              <a:gd name="connsiteY238" fmla="*/ 920789 h 6858000"/>
              <a:gd name="connsiteX239" fmla="*/ 8628479 w 12192000"/>
              <a:gd name="connsiteY239" fmla="*/ 798126 h 6858000"/>
              <a:gd name="connsiteX240" fmla="*/ 8721833 w 12192000"/>
              <a:gd name="connsiteY240" fmla="*/ 658638 h 6858000"/>
              <a:gd name="connsiteX241" fmla="*/ 8760369 w 12192000"/>
              <a:gd name="connsiteY241" fmla="*/ 722683 h 6858000"/>
              <a:gd name="connsiteX242" fmla="*/ 8806502 w 12192000"/>
              <a:gd name="connsiteY242" fmla="*/ 688490 h 6858000"/>
              <a:gd name="connsiteX243" fmla="*/ 8724004 w 12192000"/>
              <a:gd name="connsiteY243" fmla="*/ 623359 h 6858000"/>
              <a:gd name="connsiteX244" fmla="*/ 10614417 w 12192000"/>
              <a:gd name="connsiteY244" fmla="*/ 616845 h 6858000"/>
              <a:gd name="connsiteX245" fmla="*/ 10406543 w 12192000"/>
              <a:gd name="connsiteY245" fmla="*/ 831233 h 6858000"/>
              <a:gd name="connsiteX246" fmla="*/ 10478186 w 12192000"/>
              <a:gd name="connsiteY246" fmla="*/ 937071 h 6858000"/>
              <a:gd name="connsiteX247" fmla="*/ 10552001 w 12192000"/>
              <a:gd name="connsiteY247" fmla="*/ 938699 h 6858000"/>
              <a:gd name="connsiteX248" fmla="*/ 10582056 w 12192000"/>
              <a:gd name="connsiteY248" fmla="*/ 923637 h 6858000"/>
              <a:gd name="connsiteX249" fmla="*/ 10605742 w 12192000"/>
              <a:gd name="connsiteY249" fmla="*/ 902222 h 6858000"/>
              <a:gd name="connsiteX250" fmla="*/ 10584429 w 12192000"/>
              <a:gd name="connsiteY250" fmla="*/ 941210 h 6858000"/>
              <a:gd name="connsiteX251" fmla="*/ 10538973 w 12192000"/>
              <a:gd name="connsiteY251" fmla="*/ 962039 h 6858000"/>
              <a:gd name="connsiteX252" fmla="*/ 10589992 w 12192000"/>
              <a:gd name="connsiteY252" fmla="*/ 976150 h 6858000"/>
              <a:gd name="connsiteX253" fmla="*/ 10709398 w 12192000"/>
              <a:gd name="connsiteY253" fmla="*/ 937072 h 6858000"/>
              <a:gd name="connsiteX254" fmla="*/ 10649152 w 12192000"/>
              <a:gd name="connsiteY254" fmla="*/ 883339 h 6858000"/>
              <a:gd name="connsiteX255" fmla="*/ 10708312 w 12192000"/>
              <a:gd name="connsiteY255" fmla="*/ 912648 h 6858000"/>
              <a:gd name="connsiteX256" fmla="*/ 10795153 w 12192000"/>
              <a:gd name="connsiteY256" fmla="*/ 826350 h 6858000"/>
              <a:gd name="connsiteX257" fmla="*/ 10795631 w 12192000"/>
              <a:gd name="connsiteY257" fmla="*/ 825891 h 6858000"/>
              <a:gd name="connsiteX258" fmla="*/ 10795697 w 12192000"/>
              <a:gd name="connsiteY258" fmla="*/ 826349 h 6858000"/>
              <a:gd name="connsiteX259" fmla="*/ 10801382 w 12192000"/>
              <a:gd name="connsiteY259" fmla="*/ 820371 h 6858000"/>
              <a:gd name="connsiteX260" fmla="*/ 10795631 w 12192000"/>
              <a:gd name="connsiteY260" fmla="*/ 825891 h 6858000"/>
              <a:gd name="connsiteX261" fmla="*/ 10795154 w 12192000"/>
              <a:gd name="connsiteY261" fmla="*/ 822549 h 6858000"/>
              <a:gd name="connsiteX262" fmla="*/ 10727853 w 12192000"/>
              <a:gd name="connsiteY262" fmla="*/ 685232 h 6858000"/>
              <a:gd name="connsiteX263" fmla="*/ 10623644 w 12192000"/>
              <a:gd name="connsiteY263" fmla="*/ 620644 h 6858000"/>
              <a:gd name="connsiteX264" fmla="*/ 10614417 w 12192000"/>
              <a:gd name="connsiteY264" fmla="*/ 616845 h 6858000"/>
              <a:gd name="connsiteX265" fmla="*/ 0 w 12192000"/>
              <a:gd name="connsiteY265" fmla="*/ 0 h 6858000"/>
              <a:gd name="connsiteX266" fmla="*/ 12192000 w 12192000"/>
              <a:gd name="connsiteY266" fmla="*/ 0 h 6858000"/>
              <a:gd name="connsiteX267" fmla="*/ 12192000 w 12192000"/>
              <a:gd name="connsiteY267" fmla="*/ 6858000 h 6858000"/>
              <a:gd name="connsiteX268" fmla="*/ 0 w 12192000"/>
              <a:gd name="connsiteY26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2192000" h="6858000">
                <a:moveTo>
                  <a:pt x="9343829" y="959868"/>
                </a:moveTo>
                <a:cubicBezTo>
                  <a:pt x="9341658" y="1057021"/>
                  <a:pt x="9319405" y="1078731"/>
                  <a:pt x="9294981" y="1078731"/>
                </a:cubicBezTo>
                <a:cubicBezTo>
                  <a:pt x="9279784" y="1078731"/>
                  <a:pt x="9271643" y="1064077"/>
                  <a:pt x="9271643" y="1047794"/>
                </a:cubicBezTo>
                <a:cubicBezTo>
                  <a:pt x="9271643" y="1003831"/>
                  <a:pt x="9304208" y="979949"/>
                  <a:pt x="9343829" y="959868"/>
                </a:cubicBezTo>
                <a:close/>
                <a:moveTo>
                  <a:pt x="11404665" y="772073"/>
                </a:moveTo>
                <a:cubicBezTo>
                  <a:pt x="11411721" y="772073"/>
                  <a:pt x="11417691" y="773159"/>
                  <a:pt x="11422576" y="775872"/>
                </a:cubicBezTo>
                <a:cubicBezTo>
                  <a:pt x="11428003" y="778586"/>
                  <a:pt x="11432345" y="781843"/>
                  <a:pt x="11435602" y="786185"/>
                </a:cubicBezTo>
                <a:cubicBezTo>
                  <a:pt x="11439401" y="790527"/>
                  <a:pt x="11442115" y="795411"/>
                  <a:pt x="11443743" y="801382"/>
                </a:cubicBezTo>
                <a:cubicBezTo>
                  <a:pt x="11445371" y="807352"/>
                  <a:pt x="11446457" y="813323"/>
                  <a:pt x="11446457" y="819836"/>
                </a:cubicBezTo>
                <a:lnTo>
                  <a:pt x="11359074" y="819836"/>
                </a:lnTo>
                <a:cubicBezTo>
                  <a:pt x="11360159" y="813865"/>
                  <a:pt x="11361245" y="808438"/>
                  <a:pt x="11363416" y="802467"/>
                </a:cubicBezTo>
                <a:cubicBezTo>
                  <a:pt x="11365587" y="796497"/>
                  <a:pt x="11368843" y="791612"/>
                  <a:pt x="11372100" y="787270"/>
                </a:cubicBezTo>
                <a:cubicBezTo>
                  <a:pt x="11375356" y="782928"/>
                  <a:pt x="11380241" y="779129"/>
                  <a:pt x="11385668" y="776415"/>
                </a:cubicBezTo>
                <a:cubicBezTo>
                  <a:pt x="11391096" y="773701"/>
                  <a:pt x="11397610" y="772073"/>
                  <a:pt x="11404665" y="772073"/>
                </a:cubicBezTo>
                <a:close/>
                <a:moveTo>
                  <a:pt x="9493087" y="766103"/>
                </a:moveTo>
                <a:cubicBezTo>
                  <a:pt x="9507741" y="766103"/>
                  <a:pt x="9516425" y="779673"/>
                  <a:pt x="9514797" y="799212"/>
                </a:cubicBezTo>
                <a:cubicBezTo>
                  <a:pt x="9513168" y="822008"/>
                  <a:pt x="9496343" y="848602"/>
                  <a:pt x="9467034" y="869227"/>
                </a:cubicBezTo>
                <a:cubicBezTo>
                  <a:pt x="9452380" y="825807"/>
                  <a:pt x="9463778" y="766103"/>
                  <a:pt x="9493087" y="766103"/>
                </a:cubicBezTo>
                <a:close/>
                <a:moveTo>
                  <a:pt x="11119177" y="740594"/>
                </a:moveTo>
                <a:lnTo>
                  <a:pt x="11189735" y="924046"/>
                </a:lnTo>
                <a:cubicBezTo>
                  <a:pt x="11196248" y="937614"/>
                  <a:pt x="11200590" y="944670"/>
                  <a:pt x="11213074" y="944670"/>
                </a:cubicBezTo>
                <a:lnTo>
                  <a:pt x="11236955" y="944670"/>
                </a:lnTo>
                <a:lnTo>
                  <a:pt x="11314569" y="740594"/>
                </a:lnTo>
                <a:lnTo>
                  <a:pt x="11278747" y="740594"/>
                </a:lnTo>
                <a:cubicBezTo>
                  <a:pt x="11266264" y="740594"/>
                  <a:pt x="11263007" y="747107"/>
                  <a:pt x="11257580" y="761219"/>
                </a:cubicBezTo>
                <a:lnTo>
                  <a:pt x="11217416" y="876825"/>
                </a:lnTo>
                <a:lnTo>
                  <a:pt x="11175624" y="763390"/>
                </a:lnTo>
                <a:cubicBezTo>
                  <a:pt x="11170738" y="748735"/>
                  <a:pt x="11166396" y="740594"/>
                  <a:pt x="11153913" y="740594"/>
                </a:cubicBezTo>
                <a:lnTo>
                  <a:pt x="11130575" y="740594"/>
                </a:lnTo>
                <a:close/>
                <a:moveTo>
                  <a:pt x="10865711" y="740051"/>
                </a:moveTo>
                <a:lnTo>
                  <a:pt x="10865711" y="910476"/>
                </a:lnTo>
                <a:cubicBezTo>
                  <a:pt x="10865711" y="929473"/>
                  <a:pt x="10880908" y="944670"/>
                  <a:pt x="10899904" y="944670"/>
                </a:cubicBezTo>
                <a:lnTo>
                  <a:pt x="10912930" y="944670"/>
                </a:lnTo>
                <a:lnTo>
                  <a:pt x="10912930" y="771531"/>
                </a:lnTo>
                <a:cubicBezTo>
                  <a:pt x="10912930" y="754163"/>
                  <a:pt x="10899361" y="740051"/>
                  <a:pt x="10881993" y="740051"/>
                </a:cubicBezTo>
                <a:close/>
                <a:moveTo>
                  <a:pt x="11599515" y="735166"/>
                </a:moveTo>
                <a:cubicBezTo>
                  <a:pt x="11581603" y="735166"/>
                  <a:pt x="11565321" y="736251"/>
                  <a:pt x="11550667" y="738965"/>
                </a:cubicBezTo>
                <a:cubicBezTo>
                  <a:pt x="11536012" y="741136"/>
                  <a:pt x="11524071" y="743850"/>
                  <a:pt x="11514845" y="746563"/>
                </a:cubicBezTo>
                <a:lnTo>
                  <a:pt x="11514845" y="918617"/>
                </a:lnTo>
                <a:lnTo>
                  <a:pt x="11514845" y="924045"/>
                </a:lnTo>
                <a:cubicBezTo>
                  <a:pt x="11514845" y="935442"/>
                  <a:pt x="11524071" y="945212"/>
                  <a:pt x="11536012" y="945212"/>
                </a:cubicBezTo>
                <a:lnTo>
                  <a:pt x="11536555" y="945212"/>
                </a:lnTo>
                <a:lnTo>
                  <a:pt x="11562607" y="945212"/>
                </a:lnTo>
                <a:lnTo>
                  <a:pt x="11562607" y="779129"/>
                </a:lnTo>
                <a:cubicBezTo>
                  <a:pt x="11565864" y="778586"/>
                  <a:pt x="11570748" y="778043"/>
                  <a:pt x="11577261" y="776958"/>
                </a:cubicBezTo>
                <a:cubicBezTo>
                  <a:pt x="11583774" y="776415"/>
                  <a:pt x="11590287" y="775872"/>
                  <a:pt x="11596258" y="775872"/>
                </a:cubicBezTo>
                <a:cubicBezTo>
                  <a:pt x="11604399" y="775872"/>
                  <a:pt x="11611455" y="776958"/>
                  <a:pt x="11616883" y="779129"/>
                </a:cubicBezTo>
                <a:cubicBezTo>
                  <a:pt x="11622310" y="781300"/>
                  <a:pt x="11627195" y="785099"/>
                  <a:pt x="11630451" y="789441"/>
                </a:cubicBezTo>
                <a:cubicBezTo>
                  <a:pt x="11633708" y="794326"/>
                  <a:pt x="11635879" y="800296"/>
                  <a:pt x="11637507" y="808437"/>
                </a:cubicBezTo>
                <a:cubicBezTo>
                  <a:pt x="11639135" y="816036"/>
                  <a:pt x="11639678" y="825263"/>
                  <a:pt x="11639678" y="836661"/>
                </a:cubicBezTo>
                <a:lnTo>
                  <a:pt x="11639678" y="918074"/>
                </a:lnTo>
                <a:lnTo>
                  <a:pt x="11639678" y="923502"/>
                </a:lnTo>
                <a:cubicBezTo>
                  <a:pt x="11639678" y="934900"/>
                  <a:pt x="11648905" y="944669"/>
                  <a:pt x="11660845" y="944669"/>
                </a:cubicBezTo>
                <a:lnTo>
                  <a:pt x="11687441" y="944669"/>
                </a:lnTo>
                <a:lnTo>
                  <a:pt x="11687441" y="829605"/>
                </a:lnTo>
                <a:cubicBezTo>
                  <a:pt x="11685812" y="815494"/>
                  <a:pt x="11684727" y="803010"/>
                  <a:pt x="11682013" y="791069"/>
                </a:cubicBezTo>
                <a:cubicBezTo>
                  <a:pt x="11679299" y="779672"/>
                  <a:pt x="11674415" y="769359"/>
                  <a:pt x="11667902" y="761218"/>
                </a:cubicBezTo>
                <a:cubicBezTo>
                  <a:pt x="11661389" y="753076"/>
                  <a:pt x="11652161" y="746563"/>
                  <a:pt x="11641306" y="742221"/>
                </a:cubicBezTo>
                <a:cubicBezTo>
                  <a:pt x="11629909" y="737879"/>
                  <a:pt x="11616340" y="735166"/>
                  <a:pt x="11599515" y="735166"/>
                </a:cubicBezTo>
                <a:close/>
                <a:moveTo>
                  <a:pt x="11026367" y="735166"/>
                </a:moveTo>
                <a:cubicBezTo>
                  <a:pt x="11008455" y="735166"/>
                  <a:pt x="10992173" y="736251"/>
                  <a:pt x="10977519" y="738965"/>
                </a:cubicBezTo>
                <a:cubicBezTo>
                  <a:pt x="10962864" y="741136"/>
                  <a:pt x="10950923" y="743850"/>
                  <a:pt x="10941697" y="746563"/>
                </a:cubicBezTo>
                <a:lnTo>
                  <a:pt x="10941697" y="918617"/>
                </a:lnTo>
                <a:lnTo>
                  <a:pt x="10941697" y="924045"/>
                </a:lnTo>
                <a:cubicBezTo>
                  <a:pt x="10941697" y="935442"/>
                  <a:pt x="10950923" y="945212"/>
                  <a:pt x="10962864" y="945212"/>
                </a:cubicBezTo>
                <a:lnTo>
                  <a:pt x="10963407" y="945212"/>
                </a:lnTo>
                <a:lnTo>
                  <a:pt x="10989459" y="945212"/>
                </a:lnTo>
                <a:lnTo>
                  <a:pt x="10989459" y="779129"/>
                </a:lnTo>
                <a:cubicBezTo>
                  <a:pt x="10992716" y="778586"/>
                  <a:pt x="10997600" y="778043"/>
                  <a:pt x="11004114" y="776958"/>
                </a:cubicBezTo>
                <a:cubicBezTo>
                  <a:pt x="11010626" y="776415"/>
                  <a:pt x="11017139" y="775872"/>
                  <a:pt x="11023110" y="775872"/>
                </a:cubicBezTo>
                <a:cubicBezTo>
                  <a:pt x="11031252" y="775872"/>
                  <a:pt x="11038307" y="776958"/>
                  <a:pt x="11043735" y="779129"/>
                </a:cubicBezTo>
                <a:cubicBezTo>
                  <a:pt x="11049162" y="781300"/>
                  <a:pt x="11054047" y="785099"/>
                  <a:pt x="11057303" y="789441"/>
                </a:cubicBezTo>
                <a:cubicBezTo>
                  <a:pt x="11060560" y="794326"/>
                  <a:pt x="11062731" y="800296"/>
                  <a:pt x="11064359" y="808437"/>
                </a:cubicBezTo>
                <a:cubicBezTo>
                  <a:pt x="11065987" y="816036"/>
                  <a:pt x="11066530" y="825263"/>
                  <a:pt x="11066530" y="836661"/>
                </a:cubicBezTo>
                <a:lnTo>
                  <a:pt x="11066530" y="918074"/>
                </a:lnTo>
                <a:lnTo>
                  <a:pt x="11066530" y="923502"/>
                </a:lnTo>
                <a:cubicBezTo>
                  <a:pt x="11066530" y="934900"/>
                  <a:pt x="11075757" y="944669"/>
                  <a:pt x="11087697" y="944669"/>
                </a:cubicBezTo>
                <a:lnTo>
                  <a:pt x="11114293" y="944669"/>
                </a:lnTo>
                <a:lnTo>
                  <a:pt x="11114293" y="829605"/>
                </a:lnTo>
                <a:cubicBezTo>
                  <a:pt x="11113207" y="815494"/>
                  <a:pt x="11111579" y="803010"/>
                  <a:pt x="11108865" y="791069"/>
                </a:cubicBezTo>
                <a:cubicBezTo>
                  <a:pt x="11106151" y="779672"/>
                  <a:pt x="11101267" y="769359"/>
                  <a:pt x="11094754" y="761218"/>
                </a:cubicBezTo>
                <a:cubicBezTo>
                  <a:pt x="11088241" y="753076"/>
                  <a:pt x="11079013" y="746563"/>
                  <a:pt x="11068158" y="742221"/>
                </a:cubicBezTo>
                <a:cubicBezTo>
                  <a:pt x="11056761" y="737879"/>
                  <a:pt x="11043192" y="735166"/>
                  <a:pt x="11026367" y="735166"/>
                </a:cubicBezTo>
                <a:close/>
                <a:moveTo>
                  <a:pt x="11405208" y="732995"/>
                </a:moveTo>
                <a:cubicBezTo>
                  <a:pt x="11393267" y="732995"/>
                  <a:pt x="11381327" y="735708"/>
                  <a:pt x="11369929" y="740050"/>
                </a:cubicBezTo>
                <a:cubicBezTo>
                  <a:pt x="11358531" y="744392"/>
                  <a:pt x="11348219" y="750905"/>
                  <a:pt x="11339535" y="760133"/>
                </a:cubicBezTo>
                <a:cubicBezTo>
                  <a:pt x="11330850" y="768817"/>
                  <a:pt x="11323794" y="780214"/>
                  <a:pt x="11318367" y="793783"/>
                </a:cubicBezTo>
                <a:cubicBezTo>
                  <a:pt x="11312939" y="807352"/>
                  <a:pt x="11310226" y="823092"/>
                  <a:pt x="11310226" y="841003"/>
                </a:cubicBezTo>
                <a:cubicBezTo>
                  <a:pt x="11310226" y="856200"/>
                  <a:pt x="11312397" y="870312"/>
                  <a:pt x="11316739" y="882252"/>
                </a:cubicBezTo>
                <a:cubicBezTo>
                  <a:pt x="11321081" y="895278"/>
                  <a:pt x="11327051" y="906676"/>
                  <a:pt x="11335735" y="915903"/>
                </a:cubicBezTo>
                <a:cubicBezTo>
                  <a:pt x="11344419" y="925673"/>
                  <a:pt x="11355274" y="932729"/>
                  <a:pt x="11368300" y="938156"/>
                </a:cubicBezTo>
                <a:cubicBezTo>
                  <a:pt x="11381327" y="943584"/>
                  <a:pt x="11397066" y="946297"/>
                  <a:pt x="11414977" y="946297"/>
                </a:cubicBezTo>
                <a:cubicBezTo>
                  <a:pt x="11422033" y="946297"/>
                  <a:pt x="11428546" y="945755"/>
                  <a:pt x="11435602" y="945212"/>
                </a:cubicBezTo>
                <a:cubicBezTo>
                  <a:pt x="11442658" y="944669"/>
                  <a:pt x="11448628" y="943584"/>
                  <a:pt x="11454598" y="942498"/>
                </a:cubicBezTo>
                <a:cubicBezTo>
                  <a:pt x="11460568" y="941413"/>
                  <a:pt x="11465996" y="940327"/>
                  <a:pt x="11470338" y="938699"/>
                </a:cubicBezTo>
                <a:cubicBezTo>
                  <a:pt x="11475223" y="937071"/>
                  <a:pt x="11478480" y="935442"/>
                  <a:pt x="11481193" y="934357"/>
                </a:cubicBezTo>
                <a:lnTo>
                  <a:pt x="11477937" y="913190"/>
                </a:lnTo>
                <a:cubicBezTo>
                  <a:pt x="11476309" y="904505"/>
                  <a:pt x="11468168" y="898535"/>
                  <a:pt x="11459483" y="900706"/>
                </a:cubicBezTo>
                <a:cubicBezTo>
                  <a:pt x="11457855" y="901249"/>
                  <a:pt x="11455141" y="901791"/>
                  <a:pt x="11452970" y="902334"/>
                </a:cubicBezTo>
                <a:cubicBezTo>
                  <a:pt x="11443200" y="904505"/>
                  <a:pt x="11432888" y="905591"/>
                  <a:pt x="11421490" y="905591"/>
                </a:cubicBezTo>
                <a:cubicBezTo>
                  <a:pt x="11401951" y="905591"/>
                  <a:pt x="11387297" y="900706"/>
                  <a:pt x="11376984" y="892022"/>
                </a:cubicBezTo>
                <a:cubicBezTo>
                  <a:pt x="11366672" y="882795"/>
                  <a:pt x="11360702" y="870312"/>
                  <a:pt x="11359617" y="854029"/>
                </a:cubicBezTo>
                <a:lnTo>
                  <a:pt x="11493677" y="854029"/>
                </a:lnTo>
                <a:cubicBezTo>
                  <a:pt x="11493677" y="851315"/>
                  <a:pt x="11494219" y="848601"/>
                  <a:pt x="11494219" y="845345"/>
                </a:cubicBezTo>
                <a:lnTo>
                  <a:pt x="11494219" y="836661"/>
                </a:lnTo>
                <a:cubicBezTo>
                  <a:pt x="11494219" y="802467"/>
                  <a:pt x="11486621" y="776415"/>
                  <a:pt x="11470881" y="759047"/>
                </a:cubicBezTo>
                <a:cubicBezTo>
                  <a:pt x="11455141" y="741679"/>
                  <a:pt x="11433431" y="732995"/>
                  <a:pt x="11405208" y="732995"/>
                </a:cubicBezTo>
                <a:close/>
                <a:moveTo>
                  <a:pt x="11753113" y="676006"/>
                </a:moveTo>
                <a:lnTo>
                  <a:pt x="11726518" y="680348"/>
                </a:lnTo>
                <a:cubicBezTo>
                  <a:pt x="11714578" y="682519"/>
                  <a:pt x="11705894" y="692831"/>
                  <a:pt x="11705894" y="704229"/>
                </a:cubicBezTo>
                <a:lnTo>
                  <a:pt x="11705894" y="860543"/>
                </a:lnTo>
                <a:cubicBezTo>
                  <a:pt x="11705894" y="874111"/>
                  <a:pt x="11706979" y="886595"/>
                  <a:pt x="11709150" y="896907"/>
                </a:cubicBezTo>
                <a:cubicBezTo>
                  <a:pt x="11711321" y="907762"/>
                  <a:pt x="11715120" y="916446"/>
                  <a:pt x="11721091" y="924045"/>
                </a:cubicBezTo>
                <a:cubicBezTo>
                  <a:pt x="11727061" y="931101"/>
                  <a:pt x="11734659" y="937071"/>
                  <a:pt x="11744429" y="940870"/>
                </a:cubicBezTo>
                <a:cubicBezTo>
                  <a:pt x="11754198" y="944669"/>
                  <a:pt x="11766139" y="946840"/>
                  <a:pt x="11780793" y="946840"/>
                </a:cubicBezTo>
                <a:cubicBezTo>
                  <a:pt x="11792734" y="946840"/>
                  <a:pt x="11803589" y="945755"/>
                  <a:pt x="11812273" y="943041"/>
                </a:cubicBezTo>
                <a:lnTo>
                  <a:pt x="11818786" y="941413"/>
                </a:lnTo>
                <a:cubicBezTo>
                  <a:pt x="11827469" y="939242"/>
                  <a:pt x="11832354" y="930558"/>
                  <a:pt x="11830726" y="921874"/>
                </a:cubicBezTo>
                <a:lnTo>
                  <a:pt x="11825841" y="898535"/>
                </a:lnTo>
                <a:cubicBezTo>
                  <a:pt x="11822042" y="900163"/>
                  <a:pt x="11816614" y="901792"/>
                  <a:pt x="11810102" y="903420"/>
                </a:cubicBezTo>
                <a:cubicBezTo>
                  <a:pt x="11803589" y="905048"/>
                  <a:pt x="11795990" y="906134"/>
                  <a:pt x="11787306" y="906134"/>
                </a:cubicBezTo>
                <a:cubicBezTo>
                  <a:pt x="11774823" y="906134"/>
                  <a:pt x="11766139" y="902877"/>
                  <a:pt x="11760711" y="895821"/>
                </a:cubicBezTo>
                <a:cubicBezTo>
                  <a:pt x="11755827" y="888766"/>
                  <a:pt x="11753113" y="876825"/>
                  <a:pt x="11753113" y="860543"/>
                </a:cubicBezTo>
                <a:lnTo>
                  <a:pt x="11753113" y="777501"/>
                </a:lnTo>
                <a:lnTo>
                  <a:pt x="11804674" y="777501"/>
                </a:lnTo>
                <a:cubicBezTo>
                  <a:pt x="11816614" y="777501"/>
                  <a:pt x="11825841" y="767731"/>
                  <a:pt x="11825841" y="756334"/>
                </a:cubicBezTo>
                <a:lnTo>
                  <a:pt x="11825841" y="739508"/>
                </a:lnTo>
                <a:lnTo>
                  <a:pt x="11753113" y="739508"/>
                </a:lnTo>
                <a:close/>
                <a:moveTo>
                  <a:pt x="10315900" y="658094"/>
                </a:moveTo>
                <a:cubicBezTo>
                  <a:pt x="10302874" y="658637"/>
                  <a:pt x="10292562" y="670035"/>
                  <a:pt x="10292562" y="684147"/>
                </a:cubicBezTo>
                <a:cubicBezTo>
                  <a:pt x="10293104" y="697716"/>
                  <a:pt x="10303417" y="708571"/>
                  <a:pt x="10315900" y="708028"/>
                </a:cubicBezTo>
                <a:cubicBezTo>
                  <a:pt x="10328926" y="707486"/>
                  <a:pt x="10339238" y="696087"/>
                  <a:pt x="10339238" y="681976"/>
                </a:cubicBezTo>
                <a:cubicBezTo>
                  <a:pt x="10339238" y="668406"/>
                  <a:pt x="10328926" y="657551"/>
                  <a:pt x="10315900" y="658094"/>
                </a:cubicBezTo>
                <a:close/>
                <a:moveTo>
                  <a:pt x="10889050" y="651039"/>
                </a:moveTo>
                <a:cubicBezTo>
                  <a:pt x="10880908" y="651039"/>
                  <a:pt x="10874395" y="653210"/>
                  <a:pt x="10868425" y="658637"/>
                </a:cubicBezTo>
                <a:cubicBezTo>
                  <a:pt x="10862454" y="664065"/>
                  <a:pt x="10859741" y="671121"/>
                  <a:pt x="10859741" y="680348"/>
                </a:cubicBezTo>
                <a:cubicBezTo>
                  <a:pt x="10859741" y="689032"/>
                  <a:pt x="10862454" y="696088"/>
                  <a:pt x="10868425" y="701515"/>
                </a:cubicBezTo>
                <a:cubicBezTo>
                  <a:pt x="10873853" y="706400"/>
                  <a:pt x="10880908" y="709114"/>
                  <a:pt x="10889050" y="709114"/>
                </a:cubicBezTo>
                <a:cubicBezTo>
                  <a:pt x="10896648" y="709114"/>
                  <a:pt x="10903161" y="706943"/>
                  <a:pt x="10909132" y="701515"/>
                </a:cubicBezTo>
                <a:cubicBezTo>
                  <a:pt x="10915102" y="696088"/>
                  <a:pt x="10917816" y="689032"/>
                  <a:pt x="10917816" y="680348"/>
                </a:cubicBezTo>
                <a:cubicBezTo>
                  <a:pt x="10917816" y="671664"/>
                  <a:pt x="10915102" y="664065"/>
                  <a:pt x="10909132" y="658637"/>
                </a:cubicBezTo>
                <a:cubicBezTo>
                  <a:pt x="10903704" y="653752"/>
                  <a:pt x="10896648" y="651039"/>
                  <a:pt x="10889050" y="651039"/>
                </a:cubicBezTo>
                <a:close/>
                <a:moveTo>
                  <a:pt x="9964195" y="647783"/>
                </a:moveTo>
                <a:cubicBezTo>
                  <a:pt x="9950084" y="648326"/>
                  <a:pt x="9938686" y="660267"/>
                  <a:pt x="9938686" y="674921"/>
                </a:cubicBezTo>
                <a:cubicBezTo>
                  <a:pt x="9938143" y="689575"/>
                  <a:pt x="9950084" y="700973"/>
                  <a:pt x="9964195" y="700431"/>
                </a:cubicBezTo>
                <a:cubicBezTo>
                  <a:pt x="9978307" y="699888"/>
                  <a:pt x="9988077" y="687947"/>
                  <a:pt x="9988077" y="673293"/>
                </a:cubicBezTo>
                <a:cubicBezTo>
                  <a:pt x="9988077" y="658638"/>
                  <a:pt x="9978307" y="647241"/>
                  <a:pt x="9964195" y="647783"/>
                </a:cubicBezTo>
                <a:close/>
                <a:moveTo>
                  <a:pt x="8724004" y="623359"/>
                </a:moveTo>
                <a:cubicBezTo>
                  <a:pt x="8645847" y="623359"/>
                  <a:pt x="8576918" y="701516"/>
                  <a:pt x="8576918" y="804096"/>
                </a:cubicBezTo>
                <a:cubicBezTo>
                  <a:pt x="8576918" y="903421"/>
                  <a:pt x="8627394" y="962039"/>
                  <a:pt x="8698495" y="962039"/>
                </a:cubicBezTo>
                <a:cubicBezTo>
                  <a:pt x="8743543" y="962039"/>
                  <a:pt x="8785878" y="936529"/>
                  <a:pt x="8815187" y="888766"/>
                </a:cubicBezTo>
                <a:cubicBezTo>
                  <a:pt x="8822785" y="930016"/>
                  <a:pt x="8851008" y="947927"/>
                  <a:pt x="8872176" y="947927"/>
                </a:cubicBezTo>
                <a:cubicBezTo>
                  <a:pt x="8906369" y="947927"/>
                  <a:pt x="8928622" y="925674"/>
                  <a:pt x="8941105" y="895822"/>
                </a:cubicBezTo>
                <a:cubicBezTo>
                  <a:pt x="8948704" y="925674"/>
                  <a:pt x="8964987" y="947927"/>
                  <a:pt x="8991582" y="947927"/>
                </a:cubicBezTo>
                <a:cubicBezTo>
                  <a:pt x="9010578" y="947927"/>
                  <a:pt x="9025233" y="938157"/>
                  <a:pt x="9036088" y="922960"/>
                </a:cubicBezTo>
                <a:cubicBezTo>
                  <a:pt x="9031746" y="1027712"/>
                  <a:pt x="9026318" y="1093928"/>
                  <a:pt x="9088192" y="1080902"/>
                </a:cubicBezTo>
                <a:cubicBezTo>
                  <a:pt x="9078423" y="1051051"/>
                  <a:pt x="9075708" y="997317"/>
                  <a:pt x="9075708" y="948469"/>
                </a:cubicBezTo>
                <a:cubicBezTo>
                  <a:pt x="9075708" y="815494"/>
                  <a:pt x="9097419" y="771531"/>
                  <a:pt x="9125099" y="771531"/>
                </a:cubicBezTo>
                <a:cubicBezTo>
                  <a:pt x="9145181" y="771531"/>
                  <a:pt x="9151694" y="797041"/>
                  <a:pt x="9151694" y="824179"/>
                </a:cubicBezTo>
                <a:cubicBezTo>
                  <a:pt x="9151694" y="838833"/>
                  <a:pt x="9150066" y="855115"/>
                  <a:pt x="9146810" y="870313"/>
                </a:cubicBezTo>
                <a:cubicBezTo>
                  <a:pt x="9113159" y="891480"/>
                  <a:pt x="9086021" y="908305"/>
                  <a:pt x="9086021" y="930016"/>
                </a:cubicBezTo>
                <a:cubicBezTo>
                  <a:pt x="9086021" y="946841"/>
                  <a:pt x="9098504" y="948469"/>
                  <a:pt x="9109359" y="948469"/>
                </a:cubicBezTo>
                <a:cubicBezTo>
                  <a:pt x="9135411" y="948469"/>
                  <a:pt x="9166349" y="922960"/>
                  <a:pt x="9183717" y="875198"/>
                </a:cubicBezTo>
                <a:cubicBezTo>
                  <a:pt x="9198914" y="865971"/>
                  <a:pt x="9214111" y="855658"/>
                  <a:pt x="9228223" y="841547"/>
                </a:cubicBezTo>
                <a:cubicBezTo>
                  <a:pt x="9227680" y="846431"/>
                  <a:pt x="9227680" y="851316"/>
                  <a:pt x="9227680" y="856201"/>
                </a:cubicBezTo>
                <a:cubicBezTo>
                  <a:pt x="9227680" y="903963"/>
                  <a:pt x="9248304" y="932730"/>
                  <a:pt x="9281955" y="932730"/>
                </a:cubicBezTo>
                <a:cubicBezTo>
                  <a:pt x="9308007" y="932730"/>
                  <a:pt x="9327546" y="914276"/>
                  <a:pt x="9341658" y="886595"/>
                </a:cubicBezTo>
                <a:cubicBezTo>
                  <a:pt x="9342744" y="902335"/>
                  <a:pt x="9343286" y="917533"/>
                  <a:pt x="9343286" y="931101"/>
                </a:cubicBezTo>
                <a:cubicBezTo>
                  <a:pt x="9290097" y="955526"/>
                  <a:pt x="9231479" y="980492"/>
                  <a:pt x="9231479" y="1049422"/>
                </a:cubicBezTo>
                <a:cubicBezTo>
                  <a:pt x="9231479" y="1085244"/>
                  <a:pt x="9257531" y="1111839"/>
                  <a:pt x="9290639" y="1111839"/>
                </a:cubicBezTo>
                <a:cubicBezTo>
                  <a:pt x="9364454" y="1111839"/>
                  <a:pt x="9381279" y="1034225"/>
                  <a:pt x="9381822" y="943585"/>
                </a:cubicBezTo>
                <a:cubicBezTo>
                  <a:pt x="9405703" y="933272"/>
                  <a:pt x="9423614" y="925131"/>
                  <a:pt x="9444239" y="914819"/>
                </a:cubicBezTo>
                <a:cubicBezTo>
                  <a:pt x="9462149" y="937072"/>
                  <a:pt x="9486031" y="947927"/>
                  <a:pt x="9507741" y="947927"/>
                </a:cubicBezTo>
                <a:cubicBezTo>
                  <a:pt x="9549533" y="947927"/>
                  <a:pt x="9580470" y="925674"/>
                  <a:pt x="9605980" y="881168"/>
                </a:cubicBezTo>
                <a:cubicBezTo>
                  <a:pt x="9610322" y="915362"/>
                  <a:pt x="9619006" y="947927"/>
                  <a:pt x="9637459" y="947927"/>
                </a:cubicBezTo>
                <a:cubicBezTo>
                  <a:pt x="9670567" y="947927"/>
                  <a:pt x="9677080" y="775331"/>
                  <a:pt x="9701504" y="775331"/>
                </a:cubicBezTo>
                <a:cubicBezTo>
                  <a:pt x="9720500" y="775331"/>
                  <a:pt x="9704761" y="962039"/>
                  <a:pt x="9754694" y="962039"/>
                </a:cubicBezTo>
                <a:cubicBezTo>
                  <a:pt x="9797029" y="962039"/>
                  <a:pt x="9805170" y="797583"/>
                  <a:pt x="9825795" y="797583"/>
                </a:cubicBezTo>
                <a:cubicBezTo>
                  <a:pt x="9840449" y="797583"/>
                  <a:pt x="9841535" y="947927"/>
                  <a:pt x="9887669" y="947927"/>
                </a:cubicBezTo>
                <a:cubicBezTo>
                  <a:pt x="9910464" y="947927"/>
                  <a:pt x="9934888" y="920789"/>
                  <a:pt x="9947372" y="863257"/>
                </a:cubicBezTo>
                <a:cubicBezTo>
                  <a:pt x="9953342" y="901250"/>
                  <a:pt x="9972338" y="947927"/>
                  <a:pt x="10009788" y="947927"/>
                </a:cubicBezTo>
                <a:cubicBezTo>
                  <a:pt x="10031499" y="947927"/>
                  <a:pt x="10050495" y="925674"/>
                  <a:pt x="10065149" y="896365"/>
                </a:cubicBezTo>
                <a:cubicBezTo>
                  <a:pt x="10068948" y="926759"/>
                  <a:pt x="10077633" y="947927"/>
                  <a:pt x="10094458" y="947927"/>
                </a:cubicBezTo>
                <a:cubicBezTo>
                  <a:pt x="10137878" y="947927"/>
                  <a:pt x="10136250" y="775873"/>
                  <a:pt x="10170444" y="775873"/>
                </a:cubicBezTo>
                <a:cubicBezTo>
                  <a:pt x="10197039" y="775873"/>
                  <a:pt x="10188897" y="947927"/>
                  <a:pt x="10252399" y="947927"/>
                </a:cubicBezTo>
                <a:cubicBezTo>
                  <a:pt x="10282794" y="947927"/>
                  <a:pt x="10296905" y="922417"/>
                  <a:pt x="10305590" y="889852"/>
                </a:cubicBezTo>
                <a:cubicBezTo>
                  <a:pt x="10317530" y="937614"/>
                  <a:pt x="10335983" y="947927"/>
                  <a:pt x="10351724" y="947927"/>
                </a:cubicBezTo>
                <a:cubicBezTo>
                  <a:pt x="10361493" y="947927"/>
                  <a:pt x="10369092" y="944670"/>
                  <a:pt x="10378861" y="932730"/>
                </a:cubicBezTo>
                <a:cubicBezTo>
                  <a:pt x="10331099" y="911020"/>
                  <a:pt x="10334898" y="833405"/>
                  <a:pt x="10334898" y="782929"/>
                </a:cubicBezTo>
                <a:cubicBezTo>
                  <a:pt x="10334898" y="756877"/>
                  <a:pt x="10333270" y="740051"/>
                  <a:pt x="10316445" y="740051"/>
                </a:cubicBezTo>
                <a:cubicBezTo>
                  <a:pt x="10308846" y="740051"/>
                  <a:pt x="10305047" y="741680"/>
                  <a:pt x="10297991" y="743851"/>
                </a:cubicBezTo>
                <a:cubicBezTo>
                  <a:pt x="10303961" y="831234"/>
                  <a:pt x="10284422" y="908305"/>
                  <a:pt x="10259998" y="908305"/>
                </a:cubicBezTo>
                <a:cubicBezTo>
                  <a:pt x="10228518" y="908305"/>
                  <a:pt x="10244258" y="721055"/>
                  <a:pt x="10177499" y="721055"/>
                </a:cubicBezTo>
                <a:cubicBezTo>
                  <a:pt x="10115626" y="721055"/>
                  <a:pt x="10106941" y="870313"/>
                  <a:pt x="10099886" y="870313"/>
                </a:cubicBezTo>
                <a:cubicBezTo>
                  <a:pt x="10095001" y="870313"/>
                  <a:pt x="10094458" y="831234"/>
                  <a:pt x="10094458" y="801383"/>
                </a:cubicBezTo>
                <a:cubicBezTo>
                  <a:pt x="10097172" y="787271"/>
                  <a:pt x="10098257" y="774245"/>
                  <a:pt x="10098257" y="764475"/>
                </a:cubicBezTo>
                <a:cubicBezTo>
                  <a:pt x="10098257" y="750364"/>
                  <a:pt x="10092830" y="726482"/>
                  <a:pt x="10060807" y="738423"/>
                </a:cubicBezTo>
                <a:cubicBezTo>
                  <a:pt x="10061893" y="845346"/>
                  <a:pt x="10040725" y="909934"/>
                  <a:pt x="10016302" y="909934"/>
                </a:cubicBezTo>
                <a:cubicBezTo>
                  <a:pt x="9981022" y="909934"/>
                  <a:pt x="9980480" y="813323"/>
                  <a:pt x="9980480" y="786186"/>
                </a:cubicBezTo>
                <a:cubicBezTo>
                  <a:pt x="9980480" y="760133"/>
                  <a:pt x="9982108" y="725397"/>
                  <a:pt x="9943572" y="737880"/>
                </a:cubicBezTo>
                <a:cubicBezTo>
                  <a:pt x="9937602" y="831234"/>
                  <a:pt x="9913178" y="901250"/>
                  <a:pt x="9897981" y="901250"/>
                </a:cubicBezTo>
                <a:cubicBezTo>
                  <a:pt x="9875186" y="901250"/>
                  <a:pt x="9879528" y="740051"/>
                  <a:pt x="9830137" y="740051"/>
                </a:cubicBezTo>
                <a:cubicBezTo>
                  <a:pt x="9785631" y="740051"/>
                  <a:pt x="9771519" y="892566"/>
                  <a:pt x="9762293" y="892566"/>
                </a:cubicBezTo>
                <a:cubicBezTo>
                  <a:pt x="9745467" y="892566"/>
                  <a:pt x="9767720" y="721055"/>
                  <a:pt x="9703132" y="721055"/>
                </a:cubicBezTo>
                <a:cubicBezTo>
                  <a:pt x="9669481" y="721055"/>
                  <a:pt x="9655913" y="778587"/>
                  <a:pt x="9642887" y="842632"/>
                </a:cubicBezTo>
                <a:cubicBezTo>
                  <a:pt x="9640173" y="855115"/>
                  <a:pt x="9637459" y="855658"/>
                  <a:pt x="9636916" y="841547"/>
                </a:cubicBezTo>
                <a:cubicBezTo>
                  <a:pt x="9636374" y="830149"/>
                  <a:pt x="9636374" y="817122"/>
                  <a:pt x="9636374" y="805725"/>
                </a:cubicBezTo>
                <a:cubicBezTo>
                  <a:pt x="9652656" y="741137"/>
                  <a:pt x="9632574" y="717255"/>
                  <a:pt x="9602723" y="734624"/>
                </a:cubicBezTo>
                <a:cubicBezTo>
                  <a:pt x="9612493" y="853487"/>
                  <a:pt x="9557674" y="911562"/>
                  <a:pt x="9515882" y="911562"/>
                </a:cubicBezTo>
                <a:cubicBezTo>
                  <a:pt x="9500685" y="911562"/>
                  <a:pt x="9488745" y="905049"/>
                  <a:pt x="9480061" y="894737"/>
                </a:cubicBezTo>
                <a:cubicBezTo>
                  <a:pt x="9530536" y="863799"/>
                  <a:pt x="9552790" y="828521"/>
                  <a:pt x="9552790" y="793784"/>
                </a:cubicBezTo>
                <a:cubicBezTo>
                  <a:pt x="9552790" y="756334"/>
                  <a:pt x="9531079" y="734624"/>
                  <a:pt x="9495800" y="734624"/>
                </a:cubicBezTo>
                <a:cubicBezTo>
                  <a:pt x="9445867" y="734624"/>
                  <a:pt x="9418187" y="786186"/>
                  <a:pt x="9418187" y="829606"/>
                </a:cubicBezTo>
                <a:cubicBezTo>
                  <a:pt x="9418187" y="852944"/>
                  <a:pt x="9422529" y="873027"/>
                  <a:pt x="9429584" y="889309"/>
                </a:cubicBezTo>
                <a:lnTo>
                  <a:pt x="9381279" y="911562"/>
                </a:lnTo>
                <a:cubicBezTo>
                  <a:pt x="9380194" y="866514"/>
                  <a:pt x="9374766" y="819293"/>
                  <a:pt x="9370967" y="775873"/>
                </a:cubicBezTo>
                <a:cubicBezTo>
                  <a:pt x="9344372" y="768817"/>
                  <a:pt x="9336774" y="781301"/>
                  <a:pt x="9334602" y="805182"/>
                </a:cubicBezTo>
                <a:cubicBezTo>
                  <a:pt x="9329717" y="858915"/>
                  <a:pt x="9310178" y="892566"/>
                  <a:pt x="9292268" y="892566"/>
                </a:cubicBezTo>
                <a:cubicBezTo>
                  <a:pt x="9279242" y="892566"/>
                  <a:pt x="9271100" y="876283"/>
                  <a:pt x="9270014" y="859457"/>
                </a:cubicBezTo>
                <a:cubicBezTo>
                  <a:pt x="9265130" y="773160"/>
                  <a:pt x="9335145" y="749278"/>
                  <a:pt x="9372052" y="761761"/>
                </a:cubicBezTo>
                <a:cubicBezTo>
                  <a:pt x="9379651" y="742765"/>
                  <a:pt x="9371510" y="729196"/>
                  <a:pt x="9338401" y="729196"/>
                </a:cubicBezTo>
                <a:cubicBezTo>
                  <a:pt x="9298238" y="729196"/>
                  <a:pt x="9268386" y="753620"/>
                  <a:pt x="9246133" y="785100"/>
                </a:cubicBezTo>
                <a:cubicBezTo>
                  <a:pt x="9231479" y="805725"/>
                  <a:pt x="9214654" y="820922"/>
                  <a:pt x="9191858" y="838833"/>
                </a:cubicBezTo>
                <a:cubicBezTo>
                  <a:pt x="9192401" y="833405"/>
                  <a:pt x="9192943" y="828521"/>
                  <a:pt x="9192943" y="823636"/>
                </a:cubicBezTo>
                <a:cubicBezTo>
                  <a:pt x="9192943" y="762847"/>
                  <a:pt x="9159836" y="735709"/>
                  <a:pt x="9128356" y="735709"/>
                </a:cubicBezTo>
                <a:cubicBezTo>
                  <a:pt x="9102304" y="735709"/>
                  <a:pt x="9086021" y="751449"/>
                  <a:pt x="9076252" y="775331"/>
                </a:cubicBezTo>
                <a:cubicBezTo>
                  <a:pt x="9074080" y="751449"/>
                  <a:pt x="9069195" y="741137"/>
                  <a:pt x="9055084" y="741137"/>
                </a:cubicBezTo>
                <a:cubicBezTo>
                  <a:pt x="9049114" y="741137"/>
                  <a:pt x="9040972" y="742765"/>
                  <a:pt x="9031746" y="747107"/>
                </a:cubicBezTo>
                <a:cubicBezTo>
                  <a:pt x="9036088" y="760676"/>
                  <a:pt x="9037173" y="790528"/>
                  <a:pt x="9037173" y="810067"/>
                </a:cubicBezTo>
                <a:cubicBezTo>
                  <a:pt x="9037173" y="883339"/>
                  <a:pt x="9016006" y="915904"/>
                  <a:pt x="8995924" y="915904"/>
                </a:cubicBezTo>
                <a:cubicBezTo>
                  <a:pt x="8972585" y="915904"/>
                  <a:pt x="8969329" y="829063"/>
                  <a:pt x="8967158" y="795412"/>
                </a:cubicBezTo>
                <a:cubicBezTo>
                  <a:pt x="8964444" y="794327"/>
                  <a:pt x="8961188" y="793241"/>
                  <a:pt x="8955760" y="793241"/>
                </a:cubicBezTo>
                <a:cubicBezTo>
                  <a:pt x="8935135" y="793241"/>
                  <a:pt x="8932421" y="821465"/>
                  <a:pt x="8926994" y="846974"/>
                </a:cubicBezTo>
                <a:cubicBezTo>
                  <a:pt x="8921024" y="875740"/>
                  <a:pt x="8904741" y="911562"/>
                  <a:pt x="8880317" y="911562"/>
                </a:cubicBezTo>
                <a:cubicBezTo>
                  <a:pt x="8865663" y="911562"/>
                  <a:pt x="8856436" y="897450"/>
                  <a:pt x="8855350" y="871941"/>
                </a:cubicBezTo>
                <a:cubicBezTo>
                  <a:pt x="8853179" y="820379"/>
                  <a:pt x="8896057" y="759048"/>
                  <a:pt x="8963359" y="778044"/>
                </a:cubicBezTo>
                <a:cubicBezTo>
                  <a:pt x="8972043" y="757419"/>
                  <a:pt x="8958474" y="741680"/>
                  <a:pt x="8930250" y="741680"/>
                </a:cubicBezTo>
                <a:cubicBezTo>
                  <a:pt x="8880860" y="741680"/>
                  <a:pt x="8840153" y="778587"/>
                  <a:pt x="8822243" y="822008"/>
                </a:cubicBezTo>
                <a:cubicBezTo>
                  <a:pt x="8804331" y="862172"/>
                  <a:pt x="8772852" y="920789"/>
                  <a:pt x="8708264" y="920789"/>
                </a:cubicBezTo>
                <a:cubicBezTo>
                  <a:pt x="8662673" y="920789"/>
                  <a:pt x="8628479" y="881168"/>
                  <a:pt x="8628479" y="798126"/>
                </a:cubicBezTo>
                <a:cubicBezTo>
                  <a:pt x="8628479" y="726482"/>
                  <a:pt x="8673528" y="658638"/>
                  <a:pt x="8721833" y="658638"/>
                </a:cubicBezTo>
                <a:cubicBezTo>
                  <a:pt x="8755484" y="658638"/>
                  <a:pt x="8763082" y="691746"/>
                  <a:pt x="8760369" y="722683"/>
                </a:cubicBezTo>
                <a:cubicBezTo>
                  <a:pt x="8777737" y="736795"/>
                  <a:pt x="8806502" y="723768"/>
                  <a:pt x="8806502" y="688490"/>
                </a:cubicBezTo>
                <a:cubicBezTo>
                  <a:pt x="8806502" y="664608"/>
                  <a:pt x="8786963" y="623359"/>
                  <a:pt x="8724004" y="623359"/>
                </a:cubicBezTo>
                <a:close/>
                <a:moveTo>
                  <a:pt x="10614417" y="616845"/>
                </a:moveTo>
                <a:cubicBezTo>
                  <a:pt x="10567740" y="672748"/>
                  <a:pt x="10406543" y="714541"/>
                  <a:pt x="10406543" y="831233"/>
                </a:cubicBezTo>
                <a:cubicBezTo>
                  <a:pt x="10406543" y="876825"/>
                  <a:pt x="10435308" y="919703"/>
                  <a:pt x="10478186" y="937071"/>
                </a:cubicBezTo>
                <a:cubicBezTo>
                  <a:pt x="10502610" y="946297"/>
                  <a:pt x="10527577" y="946840"/>
                  <a:pt x="10552001" y="938699"/>
                </a:cubicBezTo>
                <a:cubicBezTo>
                  <a:pt x="10562856" y="935171"/>
                  <a:pt x="10572897" y="930015"/>
                  <a:pt x="10582056" y="923637"/>
                </a:cubicBezTo>
                <a:lnTo>
                  <a:pt x="10605742" y="902222"/>
                </a:lnTo>
                <a:lnTo>
                  <a:pt x="10584429" y="941210"/>
                </a:lnTo>
                <a:cubicBezTo>
                  <a:pt x="10572488" y="952133"/>
                  <a:pt x="10556613" y="959868"/>
                  <a:pt x="10538973" y="962039"/>
                </a:cubicBezTo>
                <a:cubicBezTo>
                  <a:pt x="10547657" y="971265"/>
                  <a:pt x="10566653" y="976150"/>
                  <a:pt x="10589992" y="976150"/>
                </a:cubicBezTo>
                <a:cubicBezTo>
                  <a:pt x="10631783" y="976150"/>
                  <a:pt x="10682802" y="963667"/>
                  <a:pt x="10709398" y="937072"/>
                </a:cubicBezTo>
                <a:cubicBezTo>
                  <a:pt x="10674118" y="937614"/>
                  <a:pt x="10651323" y="914819"/>
                  <a:pt x="10649152" y="883339"/>
                </a:cubicBezTo>
                <a:cubicBezTo>
                  <a:pt x="10665977" y="904506"/>
                  <a:pt x="10685516" y="912648"/>
                  <a:pt x="10708312" y="912648"/>
                </a:cubicBezTo>
                <a:cubicBezTo>
                  <a:pt x="10757160" y="912648"/>
                  <a:pt x="10794610" y="873027"/>
                  <a:pt x="10795153" y="826350"/>
                </a:cubicBezTo>
                <a:lnTo>
                  <a:pt x="10795631" y="825891"/>
                </a:lnTo>
                <a:lnTo>
                  <a:pt x="10795697" y="826349"/>
                </a:lnTo>
                <a:cubicBezTo>
                  <a:pt x="10795697" y="826824"/>
                  <a:pt x="10803583" y="818497"/>
                  <a:pt x="10801382" y="820371"/>
                </a:cubicBezTo>
                <a:lnTo>
                  <a:pt x="10795631" y="825891"/>
                </a:lnTo>
                <a:lnTo>
                  <a:pt x="10795154" y="822549"/>
                </a:lnTo>
                <a:cubicBezTo>
                  <a:pt x="10794069" y="767731"/>
                  <a:pt x="10768017" y="722139"/>
                  <a:pt x="10727853" y="685232"/>
                </a:cubicBezTo>
                <a:cubicBezTo>
                  <a:pt x="10697459" y="657551"/>
                  <a:pt x="10661094" y="636384"/>
                  <a:pt x="10623644" y="620644"/>
                </a:cubicBezTo>
                <a:cubicBezTo>
                  <a:pt x="10620388" y="619558"/>
                  <a:pt x="10617674" y="617930"/>
                  <a:pt x="10614417" y="616845"/>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en-GB"/>
              <a:t>Insert picture and send to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4" name="Picture 3" descr="A blue text on a black background&#10;&#10;Description automatically generated">
            <a:extLst>
              <a:ext uri="{FF2B5EF4-FFF2-40B4-BE49-F238E27FC236}">
                <a16:creationId xmlns:a16="http://schemas.microsoft.com/office/drawing/2014/main" id="{70ED7A4C-B3F5-1582-B75B-595BAA8A44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02701" y="6463735"/>
            <a:ext cx="2499984" cy="394265"/>
          </a:xfrm>
          <a:prstGeom prst="rect">
            <a:avLst/>
          </a:prstGeom>
        </p:spPr>
      </p:pic>
    </p:spTree>
    <p:extLst>
      <p:ext uri="{BB962C8B-B14F-4D97-AF65-F5344CB8AC3E}">
        <p14:creationId xmlns:p14="http://schemas.microsoft.com/office/powerpoint/2010/main" val="913817229"/>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67639488"/>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theme" Target="../theme/theme2.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theme" Target="../theme/theme3.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4.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6" Type="http://schemas.openxmlformats.org/officeDocument/2006/relationships/image" Target="../media/image16.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oleObject" Target="../embeddings/oleObject2.bin"/><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image" Target="../media/image25.png"/><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heme" Target="../theme/theme6.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69395808"/>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 id="2147484211" r:id="rId11"/>
    <p:sldLayoutId id="2147484212" r:id="rId12"/>
    <p:sldLayoutId id="2147484213" r:id="rId13"/>
    <p:sldLayoutId id="2147484214" r:id="rId14"/>
    <p:sldLayoutId id="2147484215" r:id="rId15"/>
    <p:sldLayoutId id="2147484216" r:id="rId16"/>
    <p:sldLayoutId id="2147484217" r:id="rId17"/>
    <p:sldLayoutId id="2147484218" r:id="rId18"/>
    <p:sldLayoutId id="2147484219" r:id="rId19"/>
    <p:sldLayoutId id="2147484220" r:id="rId20"/>
    <p:sldLayoutId id="2147484221" r:id="rId21"/>
    <p:sldLayoutId id="2147484222" r:id="rId22"/>
    <p:sldLayoutId id="2147484223" r:id="rId23"/>
    <p:sldLayoutId id="2147484224" r:id="rId24"/>
    <p:sldLayoutId id="2147484225" r:id="rId25"/>
    <p:sldLayoutId id="2147484226" r:id="rId26"/>
    <p:sldLayoutId id="2147484227" r:id="rId27"/>
    <p:sldLayoutId id="2147484228" r:id="rId28"/>
    <p:sldLayoutId id="2147484229" r:id="rId29"/>
    <p:sldLayoutId id="2147484230" r:id="rId30"/>
    <p:sldLayoutId id="2147484231" r:id="rId31"/>
    <p:sldLayoutId id="2147484232" r:id="rId32"/>
    <p:sldLayoutId id="2147484233" r:id="rId33"/>
    <p:sldLayoutId id="2147484234" r:id="rId34"/>
    <p:sldLayoutId id="2147484235" r:id="rId35"/>
    <p:sldLayoutId id="2147484236" r:id="rId36"/>
    <p:sldLayoutId id="2147484237" r:id="rId37"/>
    <p:sldLayoutId id="2147484238" r:id="rId38"/>
    <p:sldLayoutId id="2147484239" r:id="rId39"/>
    <p:sldLayoutId id="2147484240" r:id="rId40"/>
    <p:sldLayoutId id="2147484241" r:id="rId41"/>
    <p:sldLayoutId id="2147484242" r:id="rId42"/>
    <p:sldLayoutId id="2147484243" r:id="rId43"/>
    <p:sldLayoutId id="2147484244" r:id="rId44"/>
    <p:sldLayoutId id="2147484245"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p15:clr>
            <a:srgbClr val="F26B43"/>
          </p15:clr>
        </p15:guide>
        <p15:guide id="19" orient="horz" pos="4320">
          <p15:clr>
            <a:srgbClr val="F26B43"/>
          </p15:clr>
        </p15:guide>
        <p15:guide id="20" pos="257">
          <p15:clr>
            <a:srgbClr val="F26B43"/>
          </p15:clr>
        </p15:guide>
        <p15:guide id="21" pos="3840">
          <p15:clr>
            <a:srgbClr val="F26B43"/>
          </p15:clr>
        </p15:guide>
        <p15:guide id="22" pos="7423">
          <p15:clr>
            <a:srgbClr val="F26B43"/>
          </p15:clr>
        </p15:guide>
        <p15:guide id="23" orient="horz" pos="255">
          <p15:clr>
            <a:srgbClr val="F26B43"/>
          </p15:clr>
        </p15:guide>
        <p15:guide id="24" orient="horz" pos="1026">
          <p15:clr>
            <a:srgbClr val="F26B43"/>
          </p15:clr>
        </p15:guide>
        <p15:guide id="26" orient="horz" pos="4065">
          <p15:clr>
            <a:srgbClr val="F26B43"/>
          </p15:clr>
        </p15:guide>
        <p15:guide id="2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829078122"/>
      </p:ext>
    </p:extLst>
  </p:cSld>
  <p:clrMap bg1="lt1" tx1="dk1" bg2="lt2" tx2="dk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251" r:id="rId5"/>
    <p:sldLayoutId id="2147484252" r:id="rId6"/>
    <p:sldLayoutId id="2147484253" r:id="rId7"/>
    <p:sldLayoutId id="2147484254" r:id="rId8"/>
    <p:sldLayoutId id="2147484255" r:id="rId9"/>
    <p:sldLayoutId id="2147484256" r:id="rId10"/>
    <p:sldLayoutId id="2147484257" r:id="rId11"/>
    <p:sldLayoutId id="2147484258" r:id="rId12"/>
    <p:sldLayoutId id="2147484259" r:id="rId13"/>
    <p:sldLayoutId id="2147484260" r:id="rId14"/>
    <p:sldLayoutId id="2147484261" r:id="rId15"/>
    <p:sldLayoutId id="2147484262" r:id="rId16"/>
    <p:sldLayoutId id="2147484263" r:id="rId17"/>
    <p:sldLayoutId id="2147484264" r:id="rId18"/>
    <p:sldLayoutId id="2147484265" r:id="rId19"/>
    <p:sldLayoutId id="2147484266" r:id="rId20"/>
    <p:sldLayoutId id="2147484267" r:id="rId21"/>
    <p:sldLayoutId id="2147484268" r:id="rId2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826663260"/>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3" r:id="rId22"/>
    <p:sldLayoutId id="2147484304"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7" name="TextBox 6">
            <a:extLst>
              <a:ext uri="{FF2B5EF4-FFF2-40B4-BE49-F238E27FC236}">
                <a16:creationId xmlns:a16="http://schemas.microsoft.com/office/drawing/2014/main" id="{3803C1ED-3217-DD98-600A-40129A8D785B}"/>
              </a:ext>
            </a:extLst>
          </p:cNvPr>
          <p:cNvSpPr txBox="1"/>
          <p:nvPr userDrawn="1"/>
        </p:nvSpPr>
        <p:spPr>
          <a:xfrm>
            <a:off x="6005513" y="6473711"/>
            <a:ext cx="3424526" cy="307777"/>
          </a:xfrm>
          <a:prstGeom prst="rect">
            <a:avLst/>
          </a:prstGeom>
          <a:noFill/>
        </p:spPr>
        <p:txBody>
          <a:bodyPr wrap="square" rtlCol="0">
            <a:spAutoFit/>
          </a:bodyPr>
          <a:lstStyle/>
          <a:p>
            <a:pPr algn="ctr"/>
            <a:r>
              <a:rPr lang="en-IN" sz="1400">
                <a:solidFill>
                  <a:schemeClr val="accent1"/>
                </a:solidFill>
              </a:rPr>
              <a:t>Powered by Gen AI For CX Foundry</a:t>
            </a:r>
          </a:p>
        </p:txBody>
      </p:sp>
      <p:sp>
        <p:nvSpPr>
          <p:cNvPr id="8" name="Rectangle 27">
            <a:extLst>
              <a:ext uri="{FF2B5EF4-FFF2-40B4-BE49-F238E27FC236}">
                <a16:creationId xmlns:a16="http://schemas.microsoft.com/office/drawing/2014/main" id="{AB603691-E13E-5E48-42C2-2A981AD6FCE2}"/>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Restricted © Capgemini 2023. All rights reserved  |</a:t>
            </a:r>
          </a:p>
        </p:txBody>
      </p:sp>
      <p:sp>
        <p:nvSpPr>
          <p:cNvPr id="10" name="Rectangle 43">
            <a:extLst>
              <a:ext uri="{FF2B5EF4-FFF2-40B4-BE49-F238E27FC236}">
                <a16:creationId xmlns:a16="http://schemas.microsoft.com/office/drawing/2014/main" id="{28C53E02-4FE4-0A83-632C-ED0F34300E8A}"/>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656532278"/>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9" r:id="rId3"/>
    <p:sldLayoutId id="2147484310" r:id="rId4"/>
    <p:sldLayoutId id="2147484311" r:id="rId5"/>
    <p:sldLayoutId id="2147484312" r:id="rId6"/>
    <p:sldLayoutId id="2147484313" r:id="rId7"/>
    <p:sldLayoutId id="2147484314" r:id="rId8"/>
    <p:sldLayoutId id="2147484315" r:id="rId9"/>
    <p:sldLayoutId id="2147484316" r:id="rId10"/>
    <p:sldLayoutId id="2147484317" r:id="rId11"/>
    <p:sldLayoutId id="2147484318" r:id="rId12"/>
  </p:sldLayoutIdLst>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2CF973FA-3971-CE84-02B6-5D73FB74A7FC}"/>
              </a:ext>
            </a:extLst>
          </p:cNvPr>
          <p:cNvGrpSpPr/>
          <p:nvPr userDrawn="1"/>
        </p:nvGrpSpPr>
        <p:grpSpPr>
          <a:xfrm>
            <a:off x="0" y="0"/>
            <a:ext cx="12192000" cy="6873465"/>
            <a:chOff x="1590471" y="883956"/>
            <a:chExt cx="12192000" cy="6873465"/>
          </a:xfrm>
        </p:grpSpPr>
        <p:pic>
          <p:nvPicPr>
            <p:cNvPr id="15" name="Picture 14" descr="Digital abstract blue color wave particles flow">
              <a:extLst>
                <a:ext uri="{FF2B5EF4-FFF2-40B4-BE49-F238E27FC236}">
                  <a16:creationId xmlns:a16="http://schemas.microsoft.com/office/drawing/2014/main" id="{E48CF50C-FE19-F18D-A486-70A725BD1846}"/>
                </a:ext>
              </a:extLst>
            </p:cNvPr>
            <p:cNvPicPr/>
            <p:nvPr/>
          </p:nvPicPr>
          <p:blipFill rotWithShape="1">
            <a:blip r:embed="rId15" cstate="email">
              <a:alphaModFix amt="30000"/>
              <a:extLst>
                <a:ext uri="{28A0092B-C50C-407E-A947-70E740481C1C}">
                  <a14:useLocalDpi xmlns:a14="http://schemas.microsoft.com/office/drawing/2010/main"/>
                </a:ext>
              </a:extLst>
            </a:blip>
            <a:srcRect/>
            <a:stretch/>
          </p:blipFill>
          <p:spPr>
            <a:xfrm>
              <a:off x="1590471" y="883956"/>
              <a:ext cx="12192000" cy="6873465"/>
            </a:xfrm>
            <a:prstGeom prst="rect">
              <a:avLst/>
            </a:prstGeom>
          </p:spPr>
        </p:pic>
        <p:sp>
          <p:nvSpPr>
            <p:cNvPr id="16" name="Rectangle 15">
              <a:extLst>
                <a:ext uri="{FF2B5EF4-FFF2-40B4-BE49-F238E27FC236}">
                  <a16:creationId xmlns:a16="http://schemas.microsoft.com/office/drawing/2014/main" id="{93351784-43CA-EF8E-389C-42A8E28EFAC8}"/>
                </a:ext>
              </a:extLst>
            </p:cNvPr>
            <p:cNvSpPr/>
            <p:nvPr/>
          </p:nvSpPr>
          <p:spPr>
            <a:xfrm>
              <a:off x="1590471" y="883956"/>
              <a:ext cx="12192000" cy="6873465"/>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p>
          </p:txBody>
        </p:sp>
      </p:gr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11" name="Rectangle 27">
            <a:extLst>
              <a:ext uri="{FF2B5EF4-FFF2-40B4-BE49-F238E27FC236}">
                <a16:creationId xmlns:a16="http://schemas.microsoft.com/office/drawing/2014/main" id="{050D47A0-4AC1-44D4-B74A-452A56DAF32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Company Confidential © Capgemini  2024. All rights reserved  |</a:t>
            </a:r>
            <a:endParaRPr lang="en-GB" sz="70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179514746"/>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 id="2147484332" r:id="rId12"/>
    <p:sldLayoutId id="2147484333" r:id="rId1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E7EE424C-FCA3-4EDD-B274-8E055D649B7D}" type="datetime1">
              <a:rPr lang="en-US" smtClean="0"/>
              <a:t>6/25/2025</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FAB73BC-B049-4115-A692-8D63A059BFB8}" type="slidenum">
              <a:rPr lang="en-US" dirty="0"/>
              <a:pPr/>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1565503"/>
      </p:ext>
    </p:extLst>
  </p:cSld>
  <p:clrMap bg1="lt1" tx1="dk1" bg2="lt2" tx2="dk2" accent1="accent1" accent2="accent2" accent3="accent3" accent4="accent4" accent5="accent5" accent6="accent6" hlink="hlink" folHlink="folHlink"/>
  <p:sldLayoutIdLst>
    <p:sldLayoutId id="2147484348" r:id="rId1"/>
    <p:sldLayoutId id="2147484349" r:id="rId2"/>
    <p:sldLayoutId id="2147484350" r:id="rId3"/>
    <p:sldLayoutId id="2147484351" r:id="rId4"/>
    <p:sldLayoutId id="2147484352" r:id="rId5"/>
    <p:sldLayoutId id="2147484353" r:id="rId6"/>
    <p:sldLayoutId id="2147484354" r:id="rId7"/>
    <p:sldLayoutId id="2147484355" r:id="rId8"/>
    <p:sldLayoutId id="2147484356" r:id="rId9"/>
    <p:sldLayoutId id="2147484357" r:id="rId10"/>
    <p:sldLayoutId id="2147484358" r:id="rId11"/>
    <p:sldLayoutId id="2147484359" r:id="rId12"/>
  </p:sldLayoutIdLst>
  <p:hf sldNum="0" hdr="0" ftr="0" dt="0"/>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7.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Layout" Target="../slideLayouts/slideLayout127.xml"/></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7.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Layout" Target="../slideLayouts/slideLayout127.xml"/></Relationships>
</file>

<file path=ppt/slides/_rels/slide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7.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Layout" Target="../slideLayouts/slideLayout127.xml"/></Relationships>
</file>

<file path=ppt/slides/_rels/slide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7.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7.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108.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1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45.svg"/><Relationship Id="rId7" Type="http://schemas.openxmlformats.org/officeDocument/2006/relationships/image" Target="../media/image49.svg"/><Relationship Id="rId2" Type="http://schemas.openxmlformats.org/officeDocument/2006/relationships/image" Target="../media/image44.png"/><Relationship Id="rId1" Type="http://schemas.openxmlformats.org/officeDocument/2006/relationships/slideLayout" Target="../slideLayouts/slideLayout111.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22.xml"/></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copilot.microsoft.com/" TargetMode="External"/><Relationship Id="rId1" Type="http://schemas.openxmlformats.org/officeDocument/2006/relationships/slideLayout" Target="../slideLayouts/slideLayout127.xml"/><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98B9DD-01CD-F50E-CA42-EF95A6D45067}"/>
            </a:ext>
          </a:extLst>
        </p:cNvPr>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5B533836-8D44-E2BE-4E3D-93D6EFA36766}"/>
              </a:ext>
            </a:extLst>
          </p:cNvPr>
          <p:cNvSpPr>
            <a:spLocks noGrp="1"/>
          </p:cNvSpPr>
          <p:nvPr>
            <p:ph type="pic" sz="quarter" idx="10"/>
          </p:nvPr>
        </p:nvSpPr>
        <p:spPr>
          <a:xfrm>
            <a:off x="0" y="1088136"/>
            <a:ext cx="9692640" cy="5396190"/>
          </a:xfrm>
        </p:spPr>
        <p:txBody>
          <a:bodyPr/>
          <a:lstStyle/>
          <a:p>
            <a:r>
              <a:rPr lang="en-US"/>
              <a:t> </a:t>
            </a:r>
          </a:p>
        </p:txBody>
      </p:sp>
      <p:sp>
        <p:nvSpPr>
          <p:cNvPr id="2" name="TextBox 1">
            <a:extLst>
              <a:ext uri="{FF2B5EF4-FFF2-40B4-BE49-F238E27FC236}">
                <a16:creationId xmlns:a16="http://schemas.microsoft.com/office/drawing/2014/main" id="{0EB374E1-FDE7-0680-08D6-480A91B53FE3}"/>
              </a:ext>
            </a:extLst>
          </p:cNvPr>
          <p:cNvSpPr txBox="1"/>
          <p:nvPr/>
        </p:nvSpPr>
        <p:spPr>
          <a:xfrm>
            <a:off x="91440" y="1135750"/>
            <a:ext cx="11772900"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ITC Avant Garde"/>
                <a:ea typeface="+mn-ea"/>
                <a:cs typeface="+mn-cs"/>
              </a:rPr>
              <a:t>Dev Assistant Slash Commands</a:t>
            </a:r>
            <a:r>
              <a:rPr kumimoji="0" lang="en-US" sz="1800" b="1" i="0" u="sng" strike="noStrike" kern="1200" cap="none" spc="0" normalizeH="0" baseline="0" noProof="0">
                <a:ln>
                  <a:noFill/>
                </a:ln>
                <a:solidFill>
                  <a:schemeClr val="bg1"/>
                </a:solidFill>
                <a:effectLst/>
                <a:uLnTx/>
                <a:uFillTx/>
                <a:latin typeface="ITC Avant Garde"/>
                <a:ea typeface="+mn-ea"/>
                <a:cs typeface="+mn-cs"/>
              </a:rPr>
              <a:t>: </a:t>
            </a:r>
            <a:r>
              <a:rPr kumimoji="0" lang="en-US" sz="1800" b="0" i="0" u="none" strike="noStrike" kern="1200" cap="none" spc="0" normalizeH="0" baseline="0" noProof="0">
                <a:ln>
                  <a:noFill/>
                </a:ln>
                <a:solidFill>
                  <a:schemeClr val="bg1"/>
                </a:solidFill>
                <a:effectLst/>
                <a:uLnTx/>
                <a:uFillTx/>
                <a:latin typeface="Tw Cen MT" panose="020B0602020104020603"/>
                <a:ea typeface="+mn-ea"/>
                <a:cs typeface="+mn-cs"/>
              </a:rPr>
              <a:t>To frame your query, use slash commands. They’re like ready-made prompt templates. Use them as-is or add details to get more specific responses. Type ‘/’ to see a list of available commands. After you get a response, keep chatting to increase the response accuracy.</a:t>
            </a:r>
          </a:p>
        </p:txBody>
      </p:sp>
      <p:sp>
        <p:nvSpPr>
          <p:cNvPr id="3" name="Title 1">
            <a:extLst>
              <a:ext uri="{FF2B5EF4-FFF2-40B4-BE49-F238E27FC236}">
                <a16:creationId xmlns:a16="http://schemas.microsoft.com/office/drawing/2014/main" id="{1C2F033D-BCD3-4924-B3FE-F59B1F946681}"/>
              </a:ext>
            </a:extLst>
          </p:cNvPr>
          <p:cNvSpPr txBox="1">
            <a:spLocks/>
          </p:cNvSpPr>
          <p:nvPr/>
        </p:nvSpPr>
        <p:spPr>
          <a:xfrm>
            <a:off x="196596" y="337580"/>
            <a:ext cx="8294688" cy="444500"/>
          </a:xfrm>
          <a:prstGeom prst="rect">
            <a:avLst/>
          </a:prstGeom>
        </p:spPr>
        <p:txBody>
          <a:bodyPr vert="horz" lIns="0" tIns="0" rIns="0" bIns="0" rtlCol="0" anchor="b">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US">
                <a:solidFill>
                  <a:schemeClr val="bg1"/>
                </a:solidFill>
              </a:rPr>
              <a:t>How to USE</a:t>
            </a:r>
          </a:p>
        </p:txBody>
      </p:sp>
      <p:graphicFrame>
        <p:nvGraphicFramePr>
          <p:cNvPr id="4" name="Table 3">
            <a:extLst>
              <a:ext uri="{FF2B5EF4-FFF2-40B4-BE49-F238E27FC236}">
                <a16:creationId xmlns:a16="http://schemas.microsoft.com/office/drawing/2014/main" id="{6C904F5F-CC4E-87E4-4FE0-E0D4D6B4B767}"/>
              </a:ext>
            </a:extLst>
          </p:cNvPr>
          <p:cNvGraphicFramePr>
            <a:graphicFrameLocks noGrp="1"/>
          </p:cNvGraphicFramePr>
          <p:nvPr>
            <p:extLst>
              <p:ext uri="{D42A27DB-BD31-4B8C-83A1-F6EECF244321}">
                <p14:modId xmlns:p14="http://schemas.microsoft.com/office/powerpoint/2010/main" val="3692368645"/>
              </p:ext>
            </p:extLst>
          </p:nvPr>
        </p:nvGraphicFramePr>
        <p:xfrm>
          <a:off x="196596" y="2501245"/>
          <a:ext cx="10811504" cy="2039620"/>
        </p:xfrm>
        <a:graphic>
          <a:graphicData uri="http://schemas.openxmlformats.org/drawingml/2006/table">
            <a:tbl>
              <a:tblPr/>
              <a:tblGrid>
                <a:gridCol w="5405752">
                  <a:extLst>
                    <a:ext uri="{9D8B030D-6E8A-4147-A177-3AD203B41FA5}">
                      <a16:colId xmlns:a16="http://schemas.microsoft.com/office/drawing/2014/main" val="2731537792"/>
                    </a:ext>
                  </a:extLst>
                </a:gridCol>
                <a:gridCol w="5405752">
                  <a:extLst>
                    <a:ext uri="{9D8B030D-6E8A-4147-A177-3AD203B41FA5}">
                      <a16:colId xmlns:a16="http://schemas.microsoft.com/office/drawing/2014/main" val="1852380744"/>
                    </a:ext>
                  </a:extLst>
                </a:gridCol>
              </a:tblGrid>
              <a:tr h="327278">
                <a:tc>
                  <a:txBody>
                    <a:bodyPr/>
                    <a:lstStyle/>
                    <a:p>
                      <a:pPr algn="l" fontAlgn="t">
                        <a:lnSpc>
                          <a:spcPts val="1500"/>
                        </a:lnSpc>
                      </a:pPr>
                      <a:r>
                        <a:rPr lang="en-US" b="1">
                          <a:effectLst/>
                          <a:latin typeface="Salesforce Sans"/>
                        </a:rPr>
                        <a:t>Command</a:t>
                      </a:r>
                    </a:p>
                  </a:txBody>
                  <a:tcPr marL="101600" marR="101600" marT="101600" marB="101600">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1F3FB"/>
                    </a:solidFill>
                  </a:tcPr>
                </a:tc>
                <a:tc>
                  <a:txBody>
                    <a:bodyPr/>
                    <a:lstStyle/>
                    <a:p>
                      <a:pPr algn="l" fontAlgn="t">
                        <a:lnSpc>
                          <a:spcPts val="1500"/>
                        </a:lnSpc>
                      </a:pPr>
                      <a:r>
                        <a:rPr lang="en-US" b="1">
                          <a:effectLst/>
                          <a:latin typeface="Salesforce Sans"/>
                        </a:rPr>
                        <a:t>Prompt Description</a:t>
                      </a:r>
                    </a:p>
                  </a:txBody>
                  <a:tcPr marL="101600" marR="101600" marT="101600" marB="101600">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1F3FB"/>
                    </a:solidFill>
                  </a:tcPr>
                </a:tc>
                <a:extLst>
                  <a:ext uri="{0D108BD9-81ED-4DB2-BD59-A6C34878D82A}">
                    <a16:rowId xmlns:a16="http://schemas.microsoft.com/office/drawing/2014/main" val="3266614407"/>
                  </a:ext>
                </a:extLst>
              </a:tr>
              <a:tr h="327278">
                <a:tc>
                  <a:txBody>
                    <a:bodyPr/>
                    <a:lstStyle/>
                    <a:p>
                      <a:pPr algn="l" fontAlgn="t">
                        <a:lnSpc>
                          <a:spcPts val="1500"/>
                        </a:lnSpc>
                      </a:pPr>
                      <a:r>
                        <a:rPr lang="en-US">
                          <a:effectLst/>
                          <a:latin typeface="Salesforce Sans"/>
                        </a:rPr>
                        <a:t>/explain</a:t>
                      </a:r>
                    </a:p>
                  </a:txBody>
                  <a:tcPr marL="101600" marR="101600" marT="101600" marB="101600">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tc>
                  <a:txBody>
                    <a:bodyPr/>
                    <a:lstStyle/>
                    <a:p>
                      <a:pPr algn="l" fontAlgn="t">
                        <a:lnSpc>
                          <a:spcPts val="1500"/>
                        </a:lnSpc>
                      </a:pPr>
                      <a:r>
                        <a:rPr lang="en-US">
                          <a:effectLst/>
                          <a:latin typeface="Salesforce Sans"/>
                        </a:rPr>
                        <a:t>Explain the code in the active editor.</a:t>
                      </a:r>
                    </a:p>
                  </a:txBody>
                  <a:tcPr marL="101600" marR="101600" marT="101600" marB="101600">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extLst>
                  <a:ext uri="{0D108BD9-81ED-4DB2-BD59-A6C34878D82A}">
                    <a16:rowId xmlns:a16="http://schemas.microsoft.com/office/drawing/2014/main" val="250549062"/>
                  </a:ext>
                </a:extLst>
              </a:tr>
              <a:tr h="327278">
                <a:tc>
                  <a:txBody>
                    <a:bodyPr/>
                    <a:lstStyle/>
                    <a:p>
                      <a:pPr algn="l" fontAlgn="t">
                        <a:lnSpc>
                          <a:spcPts val="1500"/>
                        </a:lnSpc>
                      </a:pPr>
                      <a:r>
                        <a:rPr lang="en-US">
                          <a:effectLst/>
                          <a:latin typeface="Salesforce Sans"/>
                        </a:rPr>
                        <a:t>/test</a:t>
                      </a:r>
                    </a:p>
                  </a:txBody>
                  <a:tcPr marL="101600" marR="101600" marT="101600" marB="101600">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tc>
                  <a:txBody>
                    <a:bodyPr/>
                    <a:lstStyle/>
                    <a:p>
                      <a:pPr algn="l" fontAlgn="t">
                        <a:lnSpc>
                          <a:spcPts val="1500"/>
                        </a:lnSpc>
                      </a:pPr>
                      <a:r>
                        <a:rPr lang="en-US">
                          <a:effectLst/>
                          <a:latin typeface="Salesforce Sans"/>
                        </a:rPr>
                        <a:t>Generate a test case.</a:t>
                      </a:r>
                    </a:p>
                  </a:txBody>
                  <a:tcPr marL="101600" marR="101600" marT="101600" marB="101600">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extLst>
                  <a:ext uri="{0D108BD9-81ED-4DB2-BD59-A6C34878D82A}">
                    <a16:rowId xmlns:a16="http://schemas.microsoft.com/office/drawing/2014/main" val="2888675896"/>
                  </a:ext>
                </a:extLst>
              </a:tr>
              <a:tr h="627994">
                <a:tc>
                  <a:txBody>
                    <a:bodyPr/>
                    <a:lstStyle/>
                    <a:p>
                      <a:pPr algn="l" fontAlgn="t">
                        <a:lnSpc>
                          <a:spcPts val="1500"/>
                        </a:lnSpc>
                      </a:pPr>
                      <a:r>
                        <a:rPr lang="en-US">
                          <a:effectLst/>
                          <a:latin typeface="Salesforce Sans"/>
                        </a:rPr>
                        <a:t>/document</a:t>
                      </a:r>
                    </a:p>
                  </a:txBody>
                  <a:tcPr marL="101600" marR="101600" marT="101600" marB="101600">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rgbClr val="FFFFFF"/>
                    </a:solidFill>
                  </a:tcPr>
                </a:tc>
                <a:tc>
                  <a:txBody>
                    <a:bodyPr/>
                    <a:lstStyle/>
                    <a:p>
                      <a:pPr algn="l" fontAlgn="t">
                        <a:lnSpc>
                          <a:spcPts val="1500"/>
                        </a:lnSpc>
                      </a:pPr>
                      <a:r>
                        <a:rPr lang="en-US">
                          <a:effectLst/>
                          <a:latin typeface="Salesforce Sans"/>
                        </a:rPr>
                        <a:t>Generate documentation for the given code block in the default documentation scheme for the current file's programming language.</a:t>
                      </a:r>
                    </a:p>
                  </a:txBody>
                  <a:tcPr marL="101600" marR="101600" marT="101600" marB="101600">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rgbClr val="FFFFFF"/>
                    </a:solidFill>
                  </a:tcPr>
                </a:tc>
                <a:extLst>
                  <a:ext uri="{0D108BD9-81ED-4DB2-BD59-A6C34878D82A}">
                    <a16:rowId xmlns:a16="http://schemas.microsoft.com/office/drawing/2014/main" val="3256296939"/>
                  </a:ext>
                </a:extLst>
              </a:tr>
            </a:tbl>
          </a:graphicData>
        </a:graphic>
      </p:graphicFrame>
    </p:spTree>
    <p:extLst>
      <p:ext uri="{BB962C8B-B14F-4D97-AF65-F5344CB8AC3E}">
        <p14:creationId xmlns:p14="http://schemas.microsoft.com/office/powerpoint/2010/main" val="225616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89B173-9554-FC34-86D5-DD76A8E4D0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955220-8839-5DF6-5148-57AFD85DB914}"/>
              </a:ext>
            </a:extLst>
          </p:cNvPr>
          <p:cNvSpPr>
            <a:spLocks noGrp="1"/>
          </p:cNvSpPr>
          <p:nvPr>
            <p:ph type="title"/>
          </p:nvPr>
        </p:nvSpPr>
        <p:spPr>
          <a:xfrm>
            <a:off x="3908612" y="50185"/>
            <a:ext cx="5764306" cy="454262"/>
          </a:xfrm>
        </p:spPr>
        <p:txBody>
          <a:bodyPr>
            <a:normAutofit/>
          </a:bodyPr>
          <a:lstStyle/>
          <a:p>
            <a:pPr algn="ctr"/>
            <a:r>
              <a:rPr lang="en-IN" sz="1800"/>
              <a:t>Microsoft copilot</a:t>
            </a:r>
            <a:endParaRPr lang="en-US" sz="1800"/>
          </a:p>
        </p:txBody>
      </p:sp>
      <p:sp>
        <p:nvSpPr>
          <p:cNvPr id="3" name="TextBox 2">
            <a:extLst>
              <a:ext uri="{FF2B5EF4-FFF2-40B4-BE49-F238E27FC236}">
                <a16:creationId xmlns:a16="http://schemas.microsoft.com/office/drawing/2014/main" id="{DC88E590-763B-5EE7-A569-5E3BEB8BC907}"/>
              </a:ext>
            </a:extLst>
          </p:cNvPr>
          <p:cNvSpPr txBox="1"/>
          <p:nvPr/>
        </p:nvSpPr>
        <p:spPr>
          <a:xfrm>
            <a:off x="1001197" y="788907"/>
            <a:ext cx="10333030" cy="2654766"/>
          </a:xfrm>
          <a:prstGeom prst="rect">
            <a:avLst/>
          </a:prstGeom>
          <a:noFill/>
        </p:spPr>
        <p:txBody>
          <a:bodyPr wrap="square" lIns="91440" tIns="45720" rIns="91440" bIns="45720" rtlCol="0" anchor="t">
            <a:spAutoFit/>
          </a:bodyPr>
          <a:lstStyle/>
          <a:p>
            <a:pPr>
              <a:lnSpc>
                <a:spcPct val="107000"/>
              </a:lnSpc>
              <a:defRPr/>
            </a:pPr>
            <a:r>
              <a:rPr lang="en-US"/>
              <a:t>Sample Prompt for Test Case Design : </a:t>
            </a:r>
            <a:endParaRPr lang="en-US">
              <a:latin typeface="Ubuntu"/>
            </a:endParaRPr>
          </a:p>
          <a:p>
            <a:pPr>
              <a:lnSpc>
                <a:spcPct val="107000"/>
              </a:lnSpc>
              <a:defRPr/>
            </a:pPr>
            <a:endParaRPr lang="en-US"/>
          </a:p>
          <a:p>
            <a:pPr>
              <a:lnSpc>
                <a:spcPct val="107000"/>
              </a:lnSpc>
              <a:defRPr/>
            </a:pPr>
            <a:endParaRPr lang="en-US"/>
          </a:p>
          <a:p>
            <a:pPr>
              <a:defRPr/>
            </a:pPr>
            <a:r>
              <a:rPr lang="en-US">
                <a:latin typeface="Calibri"/>
                <a:ea typeface="Calibri"/>
                <a:cs typeface="Calibri"/>
              </a:rPr>
              <a:t>Can you please write the Software testing test cases for below user story with negative and positive cases in Excel format with columns Test Case ID, Test Scenario, Test Script, Test Steps, Expected Result, Actual Result, Pass/Fail, Test Data and Comments.</a:t>
            </a:r>
          </a:p>
          <a:p>
            <a:pPr>
              <a:defRPr/>
            </a:pPr>
            <a:endParaRPr lang="en-US">
              <a:latin typeface="Calibri"/>
              <a:ea typeface="Calibri"/>
              <a:cs typeface="Calibri"/>
            </a:endParaRPr>
          </a:p>
          <a:p>
            <a:pPr>
              <a:lnSpc>
                <a:spcPct val="107000"/>
              </a:lnSpc>
              <a:defRPr/>
            </a:pPr>
            <a:r>
              <a:rPr lang="en-US"/>
              <a:t>&lt;Acceptance Criteria of Your User Story&gt;</a:t>
            </a:r>
            <a:br>
              <a:rPr lang="en-US"/>
            </a:br>
            <a:endParaRPr lang="en-US" sz="1800" b="0" i="0" u="none" strike="noStrike" kern="1200" cap="none" spc="0" normalizeH="0" baseline="0" noProof="0">
              <a:ln>
                <a:noFill/>
              </a:ln>
              <a:solidFill>
                <a:prstClr val="black"/>
              </a:solidFill>
              <a:effectLst/>
              <a:uLnTx/>
              <a:uFillTx/>
              <a:latin typeface="Ubuntu"/>
            </a:endParaRPr>
          </a:p>
        </p:txBody>
      </p:sp>
      <p:pic>
        <p:nvPicPr>
          <p:cNvPr id="4" name="Picture 3">
            <a:extLst>
              <a:ext uri="{FF2B5EF4-FFF2-40B4-BE49-F238E27FC236}">
                <a16:creationId xmlns:a16="http://schemas.microsoft.com/office/drawing/2014/main" id="{53E13F78-3C3F-DD2B-570A-7994B7E62761}"/>
              </a:ext>
            </a:extLst>
          </p:cNvPr>
          <p:cNvPicPr>
            <a:picLocks noChangeAspect="1"/>
          </p:cNvPicPr>
          <p:nvPr/>
        </p:nvPicPr>
        <p:blipFill>
          <a:blip r:embed="rId2"/>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1062520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21A76-CA51-FC71-9C68-63656954A60B}"/>
              </a:ext>
            </a:extLst>
          </p:cNvPr>
          <p:cNvSpPr>
            <a:spLocks noGrp="1"/>
          </p:cNvSpPr>
          <p:nvPr>
            <p:ph type="title"/>
          </p:nvPr>
        </p:nvSpPr>
        <p:spPr>
          <a:xfrm>
            <a:off x="3908612" y="50185"/>
            <a:ext cx="5764306" cy="454262"/>
          </a:xfrm>
        </p:spPr>
        <p:txBody>
          <a:bodyPr>
            <a:normAutofit fontScale="90000"/>
          </a:bodyPr>
          <a:lstStyle/>
          <a:p>
            <a:br>
              <a:rPr lang="en-US" sz="1800"/>
            </a:br>
            <a:r>
              <a:rPr lang="en-US" sz="1800"/>
              <a:t>Test case design for Validation rule - prompt</a:t>
            </a:r>
            <a:br>
              <a:rPr lang="en-US" sz="1200" b="0" i="0">
                <a:solidFill>
                  <a:srgbClr val="1E1E1E"/>
                </a:solidFill>
                <a:effectLst/>
                <a:latin typeface="Salesforce Sans"/>
              </a:rPr>
            </a:br>
            <a:endParaRPr lang="en-US" sz="1800"/>
          </a:p>
        </p:txBody>
      </p:sp>
      <p:sp>
        <p:nvSpPr>
          <p:cNvPr id="3" name="TextBox 2">
            <a:extLst>
              <a:ext uri="{FF2B5EF4-FFF2-40B4-BE49-F238E27FC236}">
                <a16:creationId xmlns:a16="http://schemas.microsoft.com/office/drawing/2014/main" id="{4CA8BECF-5569-3A71-11D9-51884AAC6D5D}"/>
              </a:ext>
            </a:extLst>
          </p:cNvPr>
          <p:cNvSpPr txBox="1"/>
          <p:nvPr/>
        </p:nvSpPr>
        <p:spPr>
          <a:xfrm>
            <a:off x="1001197" y="788907"/>
            <a:ext cx="5480883" cy="5366662"/>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defRPr/>
            </a:pPr>
            <a:r>
              <a:rPr kumimoji="0" lang="en-US" sz="1800" b="1" i="0" u="none" strike="noStrike" kern="1200" cap="none" spc="0" normalizeH="0" baseline="0" noProof="0">
                <a:ln>
                  <a:noFill/>
                </a:ln>
                <a:solidFill>
                  <a:prstClr val="black"/>
                </a:solidFill>
                <a:effectLst/>
                <a:uLnTx/>
                <a:uFillTx/>
                <a:latin typeface="Calibri"/>
                <a:ea typeface="Calibri"/>
                <a:cs typeface="Times New Roman"/>
              </a:rPr>
              <a:t>Prompt : </a:t>
            </a:r>
            <a:r>
              <a:rPr kumimoji="0" lang="en-US" sz="1800" b="0" i="0" u="none" strike="noStrike" kern="1200" cap="none" spc="0" normalizeH="0" baseline="0" noProof="0">
                <a:ln>
                  <a:noFill/>
                </a:ln>
                <a:solidFill>
                  <a:prstClr val="black"/>
                </a:solidFill>
                <a:effectLst/>
                <a:uLnTx/>
                <a:uFillTx/>
                <a:latin typeface="Calibri"/>
                <a:ea typeface="Calibri"/>
                <a:cs typeface="Times New Roman"/>
              </a:rPr>
              <a:t>Can you please write the Software testing test cases for below user story with negative and positive cases in Excel format with columns Test Case ID, </a:t>
            </a:r>
            <a:r>
              <a:rPr lang="en-US">
                <a:solidFill>
                  <a:prstClr val="black"/>
                </a:solidFill>
                <a:latin typeface="Calibri"/>
                <a:ea typeface="Calibri"/>
                <a:cs typeface="Times New Roman"/>
              </a:rPr>
              <a:t>Test </a:t>
            </a:r>
            <a:r>
              <a:rPr kumimoji="0" lang="en-US" sz="1800" b="0" i="0" u="none" strike="noStrike" kern="1200" cap="none" spc="0" normalizeH="0" baseline="0" noProof="0">
                <a:ln>
                  <a:noFill/>
                </a:ln>
                <a:solidFill>
                  <a:prstClr val="black"/>
                </a:solidFill>
                <a:effectLst/>
                <a:uLnTx/>
                <a:uFillTx/>
                <a:latin typeface="Calibri"/>
                <a:ea typeface="Calibri"/>
                <a:cs typeface="Times New Roman"/>
              </a:rPr>
              <a:t>Script, Test Steps, Expected Result, Actual Result, Pass/Fail, Test Data and Comments.</a:t>
            </a:r>
            <a:endParaRPr lang="en-US" sz="1800" b="0" i="0" u="none" strike="noStrike" kern="1200" cap="none" spc="0" normalizeH="0" baseline="0" noProof="0">
              <a:ln>
                <a:noFill/>
              </a:ln>
              <a:solidFill>
                <a:prstClr val="black"/>
              </a:solidFill>
              <a:effectLst/>
              <a:uLnTx/>
              <a:uFillTx/>
              <a:latin typeface="Calibri"/>
              <a:ea typeface="Calibri"/>
              <a:cs typeface="Times New Roman"/>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Calibri"/>
                <a:cs typeface="Times New Roman"/>
              </a:rPr>
              <a:t>1. Given user cannot bypass the Validation rules, Navigate to App [-----]-&gt;Sales Opportunities-&gt;Create/Update of Opportunity [KAL CRM, Komatsu Construction, New Opportunity, Lost Order] AND Type is Equals "Services" AND Subtype is Not Blank AND Service Sub Category is Blank AND Record Type NOT Equals "</a:t>
            </a:r>
            <a:r>
              <a:rPr kumimoji="0" lang="en-US" sz="1800" b="0" i="0" u="none" strike="noStrike" kern="1200" cap="none" spc="0" normalizeH="0" baseline="0" noProof="0" err="1">
                <a:ln>
                  <a:noFill/>
                </a:ln>
                <a:solidFill>
                  <a:prstClr val="black"/>
                </a:solidFill>
                <a:effectLst/>
                <a:uLnTx/>
                <a:uFillTx/>
                <a:latin typeface="Calibri"/>
                <a:ea typeface="Calibri"/>
                <a:cs typeface="Times New Roman"/>
              </a:rPr>
              <a:t>Montabert</a:t>
            </a:r>
            <a:r>
              <a:rPr kumimoji="0" lang="en-US" sz="1800" b="0" i="0" u="none" strike="noStrike" kern="1200" cap="none" spc="0" normalizeH="0" baseline="0" noProof="0">
                <a:ln>
                  <a:noFill/>
                </a:ln>
                <a:solidFill>
                  <a:prstClr val="black"/>
                </a:solidFill>
                <a:effectLst/>
                <a:uLnTx/>
                <a:uFillTx/>
                <a:latin typeface="Calibri"/>
                <a:ea typeface="Calibri"/>
                <a:cs typeface="Times New Roman"/>
              </a:rPr>
              <a:t>" When the Opportunity is saved Then the Error message 'If Opportunity Type = Service, then Service Sub Category is required.' should be displayed and Opportunity should not be saved.</a:t>
            </a:r>
            <a:endParaRPr lang="en-US" sz="1800" b="0" i="0" u="none" strike="noStrike" kern="1200" cap="none" spc="0" normalizeH="0" baseline="0" noProof="0">
              <a:ln>
                <a:noFill/>
              </a:ln>
              <a:solidFill>
                <a:prstClr val="black"/>
              </a:solidFill>
              <a:effectLst/>
              <a:uLnTx/>
              <a:uFillTx/>
              <a:latin typeface="Calibri"/>
              <a:ea typeface="Calibri"/>
              <a:cs typeface="Times New Roman"/>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pic>
        <p:nvPicPr>
          <p:cNvPr id="10" name="Picture 9">
            <a:extLst>
              <a:ext uri="{FF2B5EF4-FFF2-40B4-BE49-F238E27FC236}">
                <a16:creationId xmlns:a16="http://schemas.microsoft.com/office/drawing/2014/main" id="{285CE6CA-EEE9-09AC-803E-E597BFE27701}"/>
              </a:ext>
            </a:extLst>
          </p:cNvPr>
          <p:cNvPicPr>
            <a:picLocks noChangeAspect="1"/>
          </p:cNvPicPr>
          <p:nvPr/>
        </p:nvPicPr>
        <p:blipFill>
          <a:blip r:embed="rId2"/>
          <a:stretch>
            <a:fillRect/>
          </a:stretch>
        </p:blipFill>
        <p:spPr>
          <a:xfrm>
            <a:off x="6553200" y="1686560"/>
            <a:ext cx="5486400" cy="2712720"/>
          </a:xfrm>
          <a:prstGeom prst="rect">
            <a:avLst/>
          </a:prstGeom>
        </p:spPr>
      </p:pic>
      <p:pic>
        <p:nvPicPr>
          <p:cNvPr id="4" name="Picture 3">
            <a:extLst>
              <a:ext uri="{FF2B5EF4-FFF2-40B4-BE49-F238E27FC236}">
                <a16:creationId xmlns:a16="http://schemas.microsoft.com/office/drawing/2014/main" id="{E84E26D1-AD70-C2E9-D83A-514CEEDB4E70}"/>
              </a:ext>
            </a:extLst>
          </p:cNvPr>
          <p:cNvPicPr>
            <a:picLocks noChangeAspect="1"/>
          </p:cNvPicPr>
          <p:nvPr/>
        </p:nvPicPr>
        <p:blipFill>
          <a:blip r:embed="rId3"/>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12348890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21A76-CA51-FC71-9C68-63656954A60B}"/>
              </a:ext>
            </a:extLst>
          </p:cNvPr>
          <p:cNvSpPr>
            <a:spLocks noGrp="1"/>
          </p:cNvSpPr>
          <p:nvPr>
            <p:ph type="title"/>
          </p:nvPr>
        </p:nvSpPr>
        <p:spPr>
          <a:xfrm>
            <a:off x="2682240" y="50185"/>
            <a:ext cx="6990678" cy="454262"/>
          </a:xfrm>
        </p:spPr>
        <p:txBody>
          <a:bodyPr>
            <a:normAutofit fontScale="90000"/>
          </a:bodyPr>
          <a:lstStyle/>
          <a:p>
            <a:br>
              <a:rPr lang="en-US" sz="1800"/>
            </a:br>
            <a:r>
              <a:rPr lang="en-US" sz="1800"/>
              <a:t>Test case design for Validation rule – Prompt results</a:t>
            </a:r>
            <a:br>
              <a:rPr lang="en-US" sz="1200" b="0" i="0">
                <a:solidFill>
                  <a:srgbClr val="1E1E1E"/>
                </a:solidFill>
                <a:effectLst/>
                <a:latin typeface="Salesforce Sans"/>
              </a:rPr>
            </a:br>
            <a:endParaRPr lang="en-US" sz="1800"/>
          </a:p>
        </p:txBody>
      </p:sp>
      <p:sp>
        <p:nvSpPr>
          <p:cNvPr id="3" name="TextBox 2">
            <a:extLst>
              <a:ext uri="{FF2B5EF4-FFF2-40B4-BE49-F238E27FC236}">
                <a16:creationId xmlns:a16="http://schemas.microsoft.com/office/drawing/2014/main" id="{4CA8BECF-5569-3A71-11D9-51884AAC6D5D}"/>
              </a:ext>
            </a:extLst>
          </p:cNvPr>
          <p:cNvSpPr txBox="1"/>
          <p:nvPr/>
        </p:nvSpPr>
        <p:spPr>
          <a:xfrm>
            <a:off x="1001197" y="788907"/>
            <a:ext cx="10664622" cy="657681"/>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ults :</a:t>
            </a: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Table 4">
            <a:extLst>
              <a:ext uri="{FF2B5EF4-FFF2-40B4-BE49-F238E27FC236}">
                <a16:creationId xmlns:a16="http://schemas.microsoft.com/office/drawing/2014/main" id="{8F9C82CA-6538-65ED-2613-EE277EE20008}"/>
              </a:ext>
            </a:extLst>
          </p:cNvPr>
          <p:cNvGraphicFramePr>
            <a:graphicFrameLocks noGrp="1"/>
          </p:cNvGraphicFramePr>
          <p:nvPr/>
        </p:nvGraphicFramePr>
        <p:xfrm>
          <a:off x="1168399" y="1327150"/>
          <a:ext cx="10497416" cy="5200536"/>
        </p:xfrm>
        <a:graphic>
          <a:graphicData uri="http://schemas.openxmlformats.org/drawingml/2006/table">
            <a:tbl>
              <a:tblPr/>
              <a:tblGrid>
                <a:gridCol w="1312177">
                  <a:extLst>
                    <a:ext uri="{9D8B030D-6E8A-4147-A177-3AD203B41FA5}">
                      <a16:colId xmlns:a16="http://schemas.microsoft.com/office/drawing/2014/main" val="704376178"/>
                    </a:ext>
                  </a:extLst>
                </a:gridCol>
                <a:gridCol w="1312177">
                  <a:extLst>
                    <a:ext uri="{9D8B030D-6E8A-4147-A177-3AD203B41FA5}">
                      <a16:colId xmlns:a16="http://schemas.microsoft.com/office/drawing/2014/main" val="3129752532"/>
                    </a:ext>
                  </a:extLst>
                </a:gridCol>
                <a:gridCol w="1312177">
                  <a:extLst>
                    <a:ext uri="{9D8B030D-6E8A-4147-A177-3AD203B41FA5}">
                      <a16:colId xmlns:a16="http://schemas.microsoft.com/office/drawing/2014/main" val="826269414"/>
                    </a:ext>
                  </a:extLst>
                </a:gridCol>
                <a:gridCol w="1312177">
                  <a:extLst>
                    <a:ext uri="{9D8B030D-6E8A-4147-A177-3AD203B41FA5}">
                      <a16:colId xmlns:a16="http://schemas.microsoft.com/office/drawing/2014/main" val="3009010386"/>
                    </a:ext>
                  </a:extLst>
                </a:gridCol>
                <a:gridCol w="1312177">
                  <a:extLst>
                    <a:ext uri="{9D8B030D-6E8A-4147-A177-3AD203B41FA5}">
                      <a16:colId xmlns:a16="http://schemas.microsoft.com/office/drawing/2014/main" val="1056671337"/>
                    </a:ext>
                  </a:extLst>
                </a:gridCol>
                <a:gridCol w="1312177">
                  <a:extLst>
                    <a:ext uri="{9D8B030D-6E8A-4147-A177-3AD203B41FA5}">
                      <a16:colId xmlns:a16="http://schemas.microsoft.com/office/drawing/2014/main" val="4209808020"/>
                    </a:ext>
                  </a:extLst>
                </a:gridCol>
                <a:gridCol w="1312177">
                  <a:extLst>
                    <a:ext uri="{9D8B030D-6E8A-4147-A177-3AD203B41FA5}">
                      <a16:colId xmlns:a16="http://schemas.microsoft.com/office/drawing/2014/main" val="1432503121"/>
                    </a:ext>
                  </a:extLst>
                </a:gridCol>
                <a:gridCol w="1312177">
                  <a:extLst>
                    <a:ext uri="{9D8B030D-6E8A-4147-A177-3AD203B41FA5}">
                      <a16:colId xmlns:a16="http://schemas.microsoft.com/office/drawing/2014/main" val="3067967358"/>
                    </a:ext>
                  </a:extLst>
                </a:gridCol>
              </a:tblGrid>
              <a:tr h="161330">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Case ID</a:t>
                      </a:r>
                    </a:p>
                  </a:txBody>
                  <a:tcPr marL="9125" marR="9125" marT="1825" marB="1825">
                    <a:lnL w="6350" cap="flat" cmpd="sng" algn="ctr">
                      <a:solidFill>
                        <a:srgbClr val="B028EE"/>
                      </a:solidFill>
                      <a:prstDash val="solid"/>
                      <a:round/>
                      <a:headEnd type="none" w="med" len="med"/>
                      <a:tailEnd type="none" w="med" len="med"/>
                    </a:lnL>
                    <a:lnR w="6350" cap="flat" cmpd="sng" algn="ctr">
                      <a:solidFill>
                        <a:srgbClr val="F01BEE"/>
                      </a:solidFill>
                      <a:prstDash val="solid"/>
                      <a:round/>
                      <a:headEnd type="none" w="med" len="med"/>
                      <a:tailEnd type="none" w="med" len="med"/>
                    </a:lnR>
                    <a:lnT w="6350" cap="flat" cmpd="sng" algn="ctr">
                      <a:solidFill>
                        <a:srgbClr val="302DEE"/>
                      </a:solidFill>
                      <a:prstDash val="solid"/>
                      <a:round/>
                      <a:headEnd type="none" w="med" len="med"/>
                      <a:tailEnd type="none" w="med" len="med"/>
                    </a:lnT>
                    <a:lnB w="6350" cap="flat" cmpd="sng" algn="ctr">
                      <a:solidFill>
                        <a:srgbClr val="302AEE"/>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Script</a:t>
                      </a:r>
                    </a:p>
                  </a:txBody>
                  <a:tcPr marL="9125" marR="9125" marT="1825" marB="1825">
                    <a:lnL w="6350" cap="flat" cmpd="sng" algn="ctr">
                      <a:solidFill>
                        <a:srgbClr val="F01BEE"/>
                      </a:solidFill>
                      <a:prstDash val="solid"/>
                      <a:round/>
                      <a:headEnd type="none" w="med" len="med"/>
                      <a:tailEnd type="none" w="med" len="med"/>
                    </a:lnL>
                    <a:lnR w="6350" cap="flat" cmpd="sng" algn="ctr">
                      <a:solidFill>
                        <a:srgbClr val="D023EE"/>
                      </a:solidFill>
                      <a:prstDash val="solid"/>
                      <a:round/>
                      <a:headEnd type="none" w="med" len="med"/>
                      <a:tailEnd type="none" w="med" len="med"/>
                    </a:lnR>
                    <a:lnT w="6350" cap="flat" cmpd="sng" algn="ctr">
                      <a:solidFill>
                        <a:srgbClr val="D02FEE"/>
                      </a:solidFill>
                      <a:prstDash val="solid"/>
                      <a:round/>
                      <a:headEnd type="none" w="med" len="med"/>
                      <a:tailEnd type="none" w="med" len="med"/>
                    </a:lnT>
                    <a:lnB w="6350" cap="flat" cmpd="sng" algn="ctr">
                      <a:solidFill>
                        <a:srgbClr val="7026EE"/>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Steps</a:t>
                      </a:r>
                    </a:p>
                  </a:txBody>
                  <a:tcPr marL="9125" marR="9125" marT="1825" marB="1825">
                    <a:lnL w="6350" cap="flat" cmpd="sng" algn="ctr">
                      <a:solidFill>
                        <a:srgbClr val="D023EE"/>
                      </a:solidFill>
                      <a:prstDash val="solid"/>
                      <a:round/>
                      <a:headEnd type="none" w="med" len="med"/>
                      <a:tailEnd type="none" w="med" len="med"/>
                    </a:lnL>
                    <a:lnR w="6350" cap="flat" cmpd="sng" algn="ctr">
                      <a:solidFill>
                        <a:srgbClr val="901BEE"/>
                      </a:solidFill>
                      <a:prstDash val="solid"/>
                      <a:round/>
                      <a:headEnd type="none" w="med" len="med"/>
                      <a:tailEnd type="none" w="med" len="med"/>
                    </a:lnR>
                    <a:lnT w="6350" cap="flat" cmpd="sng" algn="ctr">
                      <a:solidFill>
                        <a:srgbClr val="9021EE"/>
                      </a:solidFill>
                      <a:prstDash val="solid"/>
                      <a:round/>
                      <a:headEnd type="none" w="med" len="med"/>
                      <a:tailEnd type="none" w="med" len="med"/>
                    </a:lnT>
                    <a:lnB w="6350" cap="flat" cmpd="sng" algn="ctr">
                      <a:solidFill>
                        <a:srgbClr val="D02FEE"/>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Expected Result</a:t>
                      </a:r>
                    </a:p>
                  </a:txBody>
                  <a:tcPr marL="9125" marR="9125" marT="1825" marB="1825">
                    <a:lnL w="6350" cap="flat" cmpd="sng" algn="ctr">
                      <a:solidFill>
                        <a:srgbClr val="901BEE"/>
                      </a:solidFill>
                      <a:prstDash val="solid"/>
                      <a:round/>
                      <a:headEnd type="none" w="med" len="med"/>
                      <a:tailEnd type="none" w="med" len="med"/>
                    </a:lnL>
                    <a:lnR w="6350" cap="flat" cmpd="sng" algn="ctr">
                      <a:solidFill>
                        <a:srgbClr val="F02DEE"/>
                      </a:solidFill>
                      <a:prstDash val="solid"/>
                      <a:round/>
                      <a:headEnd type="none" w="med" len="med"/>
                      <a:tailEnd type="none" w="med" len="med"/>
                    </a:lnR>
                    <a:lnT w="6350" cap="flat" cmpd="sng" algn="ctr">
                      <a:solidFill>
                        <a:srgbClr val="1026EE"/>
                      </a:solidFill>
                      <a:prstDash val="solid"/>
                      <a:round/>
                      <a:headEnd type="none" w="med" len="med"/>
                      <a:tailEnd type="none" w="med" len="med"/>
                    </a:lnT>
                    <a:lnB w="6350" cap="flat" cmpd="sng" algn="ctr">
                      <a:solidFill>
                        <a:srgbClr val="D02FEE"/>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Actual Result</a:t>
                      </a:r>
                    </a:p>
                  </a:txBody>
                  <a:tcPr marL="9125" marR="9125" marT="1825" marB="1825">
                    <a:lnL w="6350" cap="flat" cmpd="sng" algn="ctr">
                      <a:solidFill>
                        <a:srgbClr val="F02DEE"/>
                      </a:solidFill>
                      <a:prstDash val="solid"/>
                      <a:round/>
                      <a:headEnd type="none" w="med" len="med"/>
                      <a:tailEnd type="none" w="med" len="med"/>
                    </a:lnL>
                    <a:lnR w="6350" cap="flat" cmpd="sng" algn="ctr">
                      <a:solidFill>
                        <a:srgbClr val="D02FEE"/>
                      </a:solidFill>
                      <a:prstDash val="solid"/>
                      <a:round/>
                      <a:headEnd type="none" w="med" len="med"/>
                      <a:tailEnd type="none" w="med" len="med"/>
                    </a:lnR>
                    <a:lnT w="6350" cap="flat" cmpd="sng" algn="ctr">
                      <a:solidFill>
                        <a:srgbClr val="902AEE"/>
                      </a:solidFill>
                      <a:prstDash val="solid"/>
                      <a:round/>
                      <a:headEnd type="none" w="med" len="med"/>
                      <a:tailEnd type="none" w="med" len="med"/>
                    </a:lnT>
                    <a:lnB w="6350" cap="flat" cmpd="sng" algn="ctr">
                      <a:solidFill>
                        <a:srgbClr val="D02FEE"/>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Pass/Fail</a:t>
                      </a:r>
                    </a:p>
                  </a:txBody>
                  <a:tcPr marL="9125" marR="9125" marT="1825" marB="1825">
                    <a:lnL w="6350" cap="flat" cmpd="sng" algn="ctr">
                      <a:solidFill>
                        <a:srgbClr val="D02FEE"/>
                      </a:solidFill>
                      <a:prstDash val="solid"/>
                      <a:round/>
                      <a:headEnd type="none" w="med" len="med"/>
                      <a:tailEnd type="none" w="med" len="med"/>
                    </a:lnL>
                    <a:lnR w="6350" cap="flat" cmpd="sng" algn="ctr">
                      <a:solidFill>
                        <a:srgbClr val="3030EE"/>
                      </a:solidFill>
                      <a:prstDash val="solid"/>
                      <a:round/>
                      <a:headEnd type="none" w="med" len="med"/>
                      <a:tailEnd type="none" w="med" len="med"/>
                    </a:lnR>
                    <a:lnT w="6350" cap="flat" cmpd="sng" algn="ctr">
                      <a:solidFill>
                        <a:srgbClr val="F01BEE"/>
                      </a:solidFill>
                      <a:prstDash val="solid"/>
                      <a:round/>
                      <a:headEnd type="none" w="med" len="med"/>
                      <a:tailEnd type="none" w="med" len="med"/>
                    </a:lnT>
                    <a:lnB w="6350" cap="flat" cmpd="sng" algn="ctr">
                      <a:solidFill>
                        <a:srgbClr val="D01DEE"/>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Data</a:t>
                      </a:r>
                    </a:p>
                  </a:txBody>
                  <a:tcPr marL="9125" marR="9125" marT="1825" marB="1825">
                    <a:lnL w="6350" cap="flat" cmpd="sng" algn="ctr">
                      <a:solidFill>
                        <a:srgbClr val="3030EE"/>
                      </a:solidFill>
                      <a:prstDash val="solid"/>
                      <a:round/>
                      <a:headEnd type="none" w="med" len="med"/>
                      <a:tailEnd type="none" w="med" len="med"/>
                    </a:lnL>
                    <a:lnR w="6350" cap="flat" cmpd="sng" algn="ctr">
                      <a:solidFill>
                        <a:srgbClr val="D02CEE"/>
                      </a:solidFill>
                      <a:prstDash val="solid"/>
                      <a:round/>
                      <a:headEnd type="none" w="med" len="med"/>
                      <a:tailEnd type="none" w="med" len="med"/>
                    </a:lnR>
                    <a:lnT w="6350" cap="flat" cmpd="sng" algn="ctr">
                      <a:solidFill>
                        <a:srgbClr val="B019EE"/>
                      </a:solidFill>
                      <a:prstDash val="solid"/>
                      <a:round/>
                      <a:headEnd type="none" w="med" len="med"/>
                      <a:tailEnd type="none" w="med" len="med"/>
                    </a:lnT>
                    <a:lnB w="6350" cap="flat" cmpd="sng" algn="ctr">
                      <a:solidFill>
                        <a:srgbClr val="102CEE"/>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Comments</a:t>
                      </a:r>
                    </a:p>
                  </a:txBody>
                  <a:tcPr marL="9125" marR="9125" marT="1825" marB="1825">
                    <a:lnL w="6350" cap="flat" cmpd="sng" algn="ctr">
                      <a:solidFill>
                        <a:srgbClr val="D02CEE"/>
                      </a:solidFill>
                      <a:prstDash val="solid"/>
                      <a:round/>
                      <a:headEnd type="none" w="med" len="med"/>
                      <a:tailEnd type="none" w="med" len="med"/>
                    </a:lnL>
                    <a:lnR w="6350" cap="flat" cmpd="sng" algn="ctr">
                      <a:solidFill>
                        <a:srgbClr val="3021EE"/>
                      </a:solidFill>
                      <a:prstDash val="solid"/>
                      <a:round/>
                      <a:headEnd type="none" w="med" len="med"/>
                      <a:tailEnd type="none" w="med" len="med"/>
                    </a:lnR>
                    <a:lnT w="6350" cap="flat" cmpd="sng" algn="ctr">
                      <a:solidFill>
                        <a:srgbClr val="701DEE"/>
                      </a:solidFill>
                      <a:prstDash val="solid"/>
                      <a:round/>
                      <a:headEnd type="none" w="med" len="med"/>
                      <a:tailEnd type="none" w="med" len="med"/>
                    </a:lnT>
                    <a:lnB w="6350" cap="flat" cmpd="sng" algn="ctr">
                      <a:solidFill>
                        <a:srgbClr val="1029EE"/>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4027750134"/>
                  </a:ext>
                </a:extLst>
              </a:tr>
              <a:tr h="2290016">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TC001</a:t>
                      </a:r>
                    </a:p>
                  </a:txBody>
                  <a:tcPr marL="9125" marR="9125" marT="1825" marB="1825">
                    <a:lnL w="6350" cap="flat" cmpd="sng" algn="ctr">
                      <a:solidFill>
                        <a:srgbClr val="9021EE"/>
                      </a:solidFill>
                      <a:prstDash val="solid"/>
                      <a:round/>
                      <a:headEnd type="none" w="med" len="med"/>
                      <a:tailEnd type="none" w="med" len="med"/>
                    </a:lnL>
                    <a:lnR w="6350" cap="flat" cmpd="sng" algn="ctr">
                      <a:solidFill>
                        <a:srgbClr val="D026EE"/>
                      </a:solidFill>
                      <a:prstDash val="solid"/>
                      <a:round/>
                      <a:headEnd type="none" w="med" len="med"/>
                      <a:tailEnd type="none" w="med" len="med"/>
                    </a:lnR>
                    <a:lnT w="6350" cap="flat" cmpd="sng" algn="ctr">
                      <a:solidFill>
                        <a:srgbClr val="302AEE"/>
                      </a:solidFill>
                      <a:prstDash val="solid"/>
                      <a:round/>
                      <a:headEnd type="none" w="med" len="med"/>
                      <a:tailEnd type="none" w="med" len="med"/>
                    </a:lnT>
                    <a:lnB w="6350" cap="flat" cmpd="sng" algn="ctr">
                      <a:solidFill>
                        <a:srgbClr val="1026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Verify validation rule for Service Type without Sub Category</a:t>
                      </a:r>
                    </a:p>
                  </a:txBody>
                  <a:tcPr marL="9125" marR="9125" marT="1825" marB="1825">
                    <a:lnL w="6350" cap="flat" cmpd="sng" algn="ctr">
                      <a:solidFill>
                        <a:srgbClr val="D026EE"/>
                      </a:solidFill>
                      <a:prstDash val="solid"/>
                      <a:round/>
                      <a:headEnd type="none" w="med" len="med"/>
                      <a:tailEnd type="none" w="med" len="med"/>
                    </a:lnL>
                    <a:lnR w="6350" cap="flat" cmpd="sng" algn="ctr">
                      <a:solidFill>
                        <a:srgbClr val="9024EE"/>
                      </a:solidFill>
                      <a:prstDash val="solid"/>
                      <a:round/>
                      <a:headEnd type="none" w="med" len="med"/>
                      <a:tailEnd type="none" w="med" len="med"/>
                    </a:lnR>
                    <a:lnT w="6350" cap="flat" cmpd="sng" algn="ctr">
                      <a:solidFill>
                        <a:srgbClr val="7026EE"/>
                      </a:solidFill>
                      <a:prstDash val="solid"/>
                      <a:round/>
                      <a:headEnd type="none" w="med" len="med"/>
                      <a:tailEnd type="none" w="med" len="med"/>
                    </a:lnT>
                    <a:lnB w="6350" cap="flat" cmpd="sng" algn="ctr">
                      <a:solidFill>
                        <a:srgbClr val="902A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1. Navigate to App -&gt; Sales Opportunities -&gt; Create/Update of Opportunity [KAL CRM, Komatsu Construction, New Opportunity, Lost Order] &lt;br&gt; 2. Select Type as "Services" &lt;br&gt; 3. Leave Subtype as Not Blank &lt;br&gt; 4. Leave Service Sub Category as Blank &lt;br&gt; 5. Attempt to save the Opportunity</a:t>
                      </a:r>
                    </a:p>
                  </a:txBody>
                  <a:tcPr marL="9125" marR="9125" marT="1825" marB="1825">
                    <a:lnL w="6350" cap="flat" cmpd="sng" algn="ctr">
                      <a:solidFill>
                        <a:srgbClr val="9024EE"/>
                      </a:solidFill>
                      <a:prstDash val="solid"/>
                      <a:round/>
                      <a:headEnd type="none" w="med" len="med"/>
                      <a:tailEnd type="none" w="med" len="med"/>
                    </a:lnL>
                    <a:lnR w="6350" cap="flat" cmpd="sng" algn="ctr">
                      <a:solidFill>
                        <a:srgbClr val="F01BEE"/>
                      </a:solidFill>
                      <a:prstDash val="solid"/>
                      <a:round/>
                      <a:headEnd type="none" w="med" len="med"/>
                      <a:tailEnd type="none" w="med" len="med"/>
                    </a:lnR>
                    <a:lnT w="6350" cap="flat" cmpd="sng" algn="ctr">
                      <a:solidFill>
                        <a:srgbClr val="D02FEE"/>
                      </a:solidFill>
                      <a:prstDash val="solid"/>
                      <a:round/>
                      <a:headEnd type="none" w="med" len="med"/>
                      <a:tailEnd type="none" w="med" len="med"/>
                    </a:lnT>
                    <a:lnB w="6350" cap="flat" cmpd="sng" algn="ctr">
                      <a:solidFill>
                        <a:srgbClr val="D01D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Error message 'If Opportunity Type = Service, then Service Sub Category is required.' is displayed. Opportunity is not saved.</a:t>
                      </a:r>
                    </a:p>
                  </a:txBody>
                  <a:tcPr marL="9125" marR="9125" marT="1825" marB="1825">
                    <a:lnL w="6350" cap="flat" cmpd="sng" algn="ctr">
                      <a:solidFill>
                        <a:srgbClr val="F01BEE"/>
                      </a:solidFill>
                      <a:prstDash val="solid"/>
                      <a:round/>
                      <a:headEnd type="none" w="med" len="med"/>
                      <a:tailEnd type="none" w="med" len="med"/>
                    </a:lnL>
                    <a:lnR w="6350" cap="flat" cmpd="sng" algn="ctr">
                      <a:solidFill>
                        <a:srgbClr val="1029EE"/>
                      </a:solidFill>
                      <a:prstDash val="solid"/>
                      <a:round/>
                      <a:headEnd type="none" w="med" len="med"/>
                      <a:tailEnd type="none" w="med" len="med"/>
                    </a:lnR>
                    <a:lnT w="6350" cap="flat" cmpd="sng" algn="ctr">
                      <a:solidFill>
                        <a:srgbClr val="D02FEE"/>
                      </a:solidFill>
                      <a:prstDash val="solid"/>
                      <a:round/>
                      <a:headEnd type="none" w="med" len="med"/>
                      <a:tailEnd type="none" w="med" len="med"/>
                    </a:lnT>
                    <a:lnB w="6350" cap="flat" cmpd="sng" algn="ctr">
                      <a:solidFill>
                        <a:srgbClr val="B019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9125" marR="9125" marT="1825" marB="1825">
                    <a:lnL w="6350" cap="flat" cmpd="sng" algn="ctr">
                      <a:solidFill>
                        <a:srgbClr val="1029EE"/>
                      </a:solidFill>
                      <a:prstDash val="solid"/>
                      <a:round/>
                      <a:headEnd type="none" w="med" len="med"/>
                      <a:tailEnd type="none" w="med" len="med"/>
                    </a:lnL>
                    <a:lnR w="6350" cap="flat" cmpd="sng" algn="ctr">
                      <a:solidFill>
                        <a:srgbClr val="F024EE"/>
                      </a:solidFill>
                      <a:prstDash val="solid"/>
                      <a:round/>
                      <a:headEnd type="none" w="med" len="med"/>
                      <a:tailEnd type="none" w="med" len="med"/>
                    </a:lnR>
                    <a:lnT w="6350" cap="flat" cmpd="sng" algn="ctr">
                      <a:solidFill>
                        <a:srgbClr val="D02FEE"/>
                      </a:solidFill>
                      <a:prstDash val="solid"/>
                      <a:round/>
                      <a:headEnd type="none" w="med" len="med"/>
                      <a:tailEnd type="none" w="med" len="med"/>
                    </a:lnT>
                    <a:lnB w="6350" cap="flat" cmpd="sng" algn="ctr">
                      <a:solidFill>
                        <a:srgbClr val="9024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9125" marR="9125" marT="1825" marB="1825">
                    <a:lnL w="6350" cap="flat" cmpd="sng" algn="ctr">
                      <a:solidFill>
                        <a:srgbClr val="F024EE"/>
                      </a:solidFill>
                      <a:prstDash val="solid"/>
                      <a:round/>
                      <a:headEnd type="none" w="med" len="med"/>
                      <a:tailEnd type="none" w="med" len="med"/>
                    </a:lnL>
                    <a:lnR w="6350" cap="flat" cmpd="sng" algn="ctr">
                      <a:solidFill>
                        <a:srgbClr val="B02EEE"/>
                      </a:solidFill>
                      <a:prstDash val="solid"/>
                      <a:round/>
                      <a:headEnd type="none" w="med" len="med"/>
                      <a:tailEnd type="none" w="med" len="med"/>
                    </a:lnR>
                    <a:lnT w="6350" cap="flat" cmpd="sng" algn="ctr">
                      <a:solidFill>
                        <a:srgbClr val="D01DEE"/>
                      </a:solidFill>
                      <a:prstDash val="solid"/>
                      <a:round/>
                      <a:headEnd type="none" w="med" len="med"/>
                      <a:tailEnd type="none" w="med" len="med"/>
                    </a:lnT>
                    <a:lnB w="6350" cap="flat" cmpd="sng" algn="ctr">
                      <a:solidFill>
                        <a:srgbClr val="302D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Type: Services, Subtype: Not Blank, Service Sub Category: Blank</a:t>
                      </a:r>
                    </a:p>
                  </a:txBody>
                  <a:tcPr marL="9125" marR="9125" marT="1825" marB="1825">
                    <a:lnL w="6350" cap="flat" cmpd="sng" algn="ctr">
                      <a:solidFill>
                        <a:srgbClr val="B02EEE"/>
                      </a:solidFill>
                      <a:prstDash val="solid"/>
                      <a:round/>
                      <a:headEnd type="none" w="med" len="med"/>
                      <a:tailEnd type="none" w="med" len="med"/>
                    </a:lnL>
                    <a:lnR w="6350" cap="flat" cmpd="sng" algn="ctr">
                      <a:solidFill>
                        <a:srgbClr val="1026EE"/>
                      </a:solidFill>
                      <a:prstDash val="solid"/>
                      <a:round/>
                      <a:headEnd type="none" w="med" len="med"/>
                      <a:tailEnd type="none" w="med" len="med"/>
                    </a:lnR>
                    <a:lnT w="6350" cap="flat" cmpd="sng" algn="ctr">
                      <a:solidFill>
                        <a:srgbClr val="102CEE"/>
                      </a:solidFill>
                      <a:prstDash val="solid"/>
                      <a:round/>
                      <a:headEnd type="none" w="med" len="med"/>
                      <a:tailEnd type="none" w="med" len="med"/>
                    </a:lnT>
                    <a:lnB w="6350" cap="flat" cmpd="sng" algn="ctr">
                      <a:solidFill>
                        <a:srgbClr val="1026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Positive Test Case</a:t>
                      </a:r>
                    </a:p>
                  </a:txBody>
                  <a:tcPr marL="9125" marR="9125" marT="1825" marB="1825">
                    <a:lnL w="6350" cap="flat" cmpd="sng" algn="ctr">
                      <a:solidFill>
                        <a:srgbClr val="1026EE"/>
                      </a:solidFill>
                      <a:prstDash val="solid"/>
                      <a:round/>
                      <a:headEnd type="none" w="med" len="med"/>
                      <a:tailEnd type="none" w="med" len="med"/>
                    </a:lnL>
                    <a:lnR w="6350" cap="flat" cmpd="sng" algn="ctr">
                      <a:solidFill>
                        <a:srgbClr val="901BEE"/>
                      </a:solidFill>
                      <a:prstDash val="solid"/>
                      <a:round/>
                      <a:headEnd type="none" w="med" len="med"/>
                      <a:tailEnd type="none" w="med" len="med"/>
                    </a:lnR>
                    <a:lnT w="6350" cap="flat" cmpd="sng" algn="ctr">
                      <a:solidFill>
                        <a:srgbClr val="1029EE"/>
                      </a:solidFill>
                      <a:prstDash val="solid"/>
                      <a:round/>
                      <a:headEnd type="none" w="med" len="med"/>
                      <a:tailEnd type="none" w="med" len="med"/>
                    </a:lnT>
                    <a:lnB w="6350" cap="flat" cmpd="sng" algn="ctr">
                      <a:solidFill>
                        <a:srgbClr val="501FEE"/>
                      </a:solidFill>
                      <a:prstDash val="solid"/>
                      <a:round/>
                      <a:headEnd type="none" w="med" len="med"/>
                      <a:tailEnd type="none" w="med" len="med"/>
                    </a:lnB>
                    <a:noFill/>
                  </a:tcPr>
                </a:tc>
                <a:extLst>
                  <a:ext uri="{0D108BD9-81ED-4DB2-BD59-A6C34878D82A}">
                    <a16:rowId xmlns:a16="http://schemas.microsoft.com/office/drawing/2014/main" val="2123567293"/>
                  </a:ext>
                </a:extLst>
              </a:tr>
              <a:tr h="2684217">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TC002</a:t>
                      </a:r>
                    </a:p>
                  </a:txBody>
                  <a:tcPr marL="9125" marR="9125" marT="1825" marB="1825">
                    <a:lnL w="6350" cap="flat" cmpd="sng" algn="ctr">
                      <a:solidFill>
                        <a:srgbClr val="901BEE"/>
                      </a:solidFill>
                      <a:prstDash val="solid"/>
                      <a:round/>
                      <a:headEnd type="none" w="med" len="med"/>
                      <a:tailEnd type="none" w="med" len="med"/>
                    </a:lnL>
                    <a:lnR w="6350" cap="flat" cmpd="sng" algn="ctr">
                      <a:solidFill>
                        <a:srgbClr val="F02DEE"/>
                      </a:solidFill>
                      <a:prstDash val="solid"/>
                      <a:round/>
                      <a:headEnd type="none" w="med" len="med"/>
                      <a:tailEnd type="none" w="med" len="med"/>
                    </a:lnR>
                    <a:lnT w="6350" cap="flat" cmpd="sng" algn="ctr">
                      <a:solidFill>
                        <a:srgbClr val="1026EE"/>
                      </a:solidFill>
                      <a:prstDash val="solid"/>
                      <a:round/>
                      <a:headEnd type="none" w="med" len="med"/>
                      <a:tailEnd type="none" w="med" len="med"/>
                    </a:lnT>
                    <a:lnB w="6350" cap="flat" cmpd="sng" algn="ctr">
                      <a:solidFill>
                        <a:srgbClr val="9027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Verify validation rule bypass with Record Type "Montabert"</a:t>
                      </a:r>
                    </a:p>
                  </a:txBody>
                  <a:tcPr marL="9125" marR="9125" marT="1825" marB="1825">
                    <a:lnL w="6350" cap="flat" cmpd="sng" algn="ctr">
                      <a:solidFill>
                        <a:srgbClr val="F02DEE"/>
                      </a:solidFill>
                      <a:prstDash val="solid"/>
                      <a:round/>
                      <a:headEnd type="none" w="med" len="med"/>
                      <a:tailEnd type="none" w="med" len="med"/>
                    </a:lnL>
                    <a:lnR w="6350" cap="flat" cmpd="sng" algn="ctr">
                      <a:solidFill>
                        <a:srgbClr val="F024EE"/>
                      </a:solidFill>
                      <a:prstDash val="solid"/>
                      <a:round/>
                      <a:headEnd type="none" w="med" len="med"/>
                      <a:tailEnd type="none" w="med" len="med"/>
                    </a:lnR>
                    <a:lnT w="6350" cap="flat" cmpd="sng" algn="ctr">
                      <a:solidFill>
                        <a:srgbClr val="902AEE"/>
                      </a:solidFill>
                      <a:prstDash val="solid"/>
                      <a:round/>
                      <a:headEnd type="none" w="med" len="med"/>
                      <a:tailEnd type="none" w="med" len="med"/>
                    </a:lnT>
                    <a:lnB w="6350" cap="flat" cmpd="sng" algn="ctr">
                      <a:solidFill>
                        <a:srgbClr val="F01B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1. Navigate to App -&gt; Sales Opportunities -&gt; Create/Update of Opportunity [KAL CRM, Komatsu Construction, New Opportunity, Lost Order] &lt;br&gt; 2. Select Type as "Services" &lt;br&gt; 3. Leave Subtype as Not Blank &lt;br&gt; 4. Leave Service Sub Category as Blank &lt;br&gt; 5. Select Record Type as "Montabert" &lt;br&gt; 6. Attempt to save the Opportunity</a:t>
                      </a:r>
                    </a:p>
                  </a:txBody>
                  <a:tcPr marL="9125" marR="9125" marT="1825" marB="1825">
                    <a:lnL w="6350" cap="flat" cmpd="sng" algn="ctr">
                      <a:solidFill>
                        <a:srgbClr val="F024EE"/>
                      </a:solidFill>
                      <a:prstDash val="solid"/>
                      <a:round/>
                      <a:headEnd type="none" w="med" len="med"/>
                      <a:tailEnd type="none" w="med" len="med"/>
                    </a:lnL>
                    <a:lnR w="6350" cap="flat" cmpd="sng" algn="ctr">
                      <a:solidFill>
                        <a:srgbClr val="F01BEE"/>
                      </a:solidFill>
                      <a:prstDash val="solid"/>
                      <a:round/>
                      <a:headEnd type="none" w="med" len="med"/>
                      <a:tailEnd type="none" w="med" len="med"/>
                    </a:lnR>
                    <a:lnT w="6350" cap="flat" cmpd="sng" algn="ctr">
                      <a:solidFill>
                        <a:srgbClr val="D01DEE"/>
                      </a:solidFill>
                      <a:prstDash val="solid"/>
                      <a:round/>
                      <a:headEnd type="none" w="med" len="med"/>
                      <a:tailEnd type="none" w="med" len="med"/>
                    </a:lnT>
                    <a:lnB w="6350" cap="flat" cmpd="sng" algn="ctr">
                      <a:solidFill>
                        <a:srgbClr val="B019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No error message is displayed. Opportunity is saved.</a:t>
                      </a:r>
                    </a:p>
                  </a:txBody>
                  <a:tcPr marL="9125" marR="9125" marT="1825" marB="1825">
                    <a:lnL w="6350" cap="flat" cmpd="sng" algn="ctr">
                      <a:solidFill>
                        <a:srgbClr val="F01BEE"/>
                      </a:solidFill>
                      <a:prstDash val="solid"/>
                      <a:round/>
                      <a:headEnd type="none" w="med" len="med"/>
                      <a:tailEnd type="none" w="med" len="med"/>
                    </a:lnL>
                    <a:lnR w="6350" cap="flat" cmpd="sng" algn="ctr">
                      <a:solidFill>
                        <a:srgbClr val="B01CEE"/>
                      </a:solidFill>
                      <a:prstDash val="solid"/>
                      <a:round/>
                      <a:headEnd type="none" w="med" len="med"/>
                      <a:tailEnd type="none" w="med" len="med"/>
                    </a:lnR>
                    <a:lnT w="6350" cap="flat" cmpd="sng" algn="ctr">
                      <a:solidFill>
                        <a:srgbClr val="B019EE"/>
                      </a:solidFill>
                      <a:prstDash val="solid"/>
                      <a:round/>
                      <a:headEnd type="none" w="med" len="med"/>
                      <a:tailEnd type="none" w="med" len="med"/>
                    </a:lnT>
                    <a:lnB w="6350" cap="flat" cmpd="sng" algn="ctr">
                      <a:solidFill>
                        <a:srgbClr val="F024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9125" marR="9125" marT="1825" marB="1825">
                    <a:lnL w="6350" cap="flat" cmpd="sng" algn="ctr">
                      <a:solidFill>
                        <a:srgbClr val="B01CEE"/>
                      </a:solidFill>
                      <a:prstDash val="solid"/>
                      <a:round/>
                      <a:headEnd type="none" w="med" len="med"/>
                      <a:tailEnd type="none" w="med" len="med"/>
                    </a:lnL>
                    <a:lnR w="6350" cap="flat" cmpd="sng" algn="ctr">
                      <a:solidFill>
                        <a:srgbClr val="1026EE"/>
                      </a:solidFill>
                      <a:prstDash val="solid"/>
                      <a:round/>
                      <a:headEnd type="none" w="med" len="med"/>
                      <a:tailEnd type="none" w="med" len="med"/>
                    </a:lnR>
                    <a:lnT w="6350" cap="flat" cmpd="sng" algn="ctr">
                      <a:solidFill>
                        <a:srgbClr val="9024EE"/>
                      </a:solidFill>
                      <a:prstDash val="solid"/>
                      <a:round/>
                      <a:headEnd type="none" w="med" len="med"/>
                      <a:tailEnd type="none" w="med" len="med"/>
                    </a:lnT>
                    <a:lnB w="6350" cap="flat" cmpd="sng" algn="ctr">
                      <a:solidFill>
                        <a:srgbClr val="501F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9125" marR="9125" marT="1825" marB="1825">
                    <a:lnL w="6350" cap="flat" cmpd="sng" algn="ctr">
                      <a:solidFill>
                        <a:srgbClr val="1026EE"/>
                      </a:solidFill>
                      <a:prstDash val="solid"/>
                      <a:round/>
                      <a:headEnd type="none" w="med" len="med"/>
                      <a:tailEnd type="none" w="med" len="med"/>
                    </a:lnL>
                    <a:lnR w="6350" cap="flat" cmpd="sng" algn="ctr">
                      <a:solidFill>
                        <a:srgbClr val="1023EE"/>
                      </a:solidFill>
                      <a:prstDash val="solid"/>
                      <a:round/>
                      <a:headEnd type="none" w="med" len="med"/>
                      <a:tailEnd type="none" w="med" len="med"/>
                    </a:lnR>
                    <a:lnT w="6350" cap="flat" cmpd="sng" algn="ctr">
                      <a:solidFill>
                        <a:srgbClr val="302DEE"/>
                      </a:solidFill>
                      <a:prstDash val="solid"/>
                      <a:round/>
                      <a:headEnd type="none" w="med" len="med"/>
                      <a:tailEnd type="none" w="med" len="med"/>
                    </a:lnT>
                    <a:lnB w="6350" cap="flat" cmpd="sng" algn="ctr">
                      <a:solidFill>
                        <a:srgbClr val="1029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Type: Services, Subtype: Not Blank, Service Sub Category: Blank, Record Type: Montabert</a:t>
                      </a:r>
                    </a:p>
                  </a:txBody>
                  <a:tcPr marL="9125" marR="9125" marT="1825" marB="1825">
                    <a:lnL w="6350" cap="flat" cmpd="sng" algn="ctr">
                      <a:solidFill>
                        <a:srgbClr val="1023EE"/>
                      </a:solidFill>
                      <a:prstDash val="solid"/>
                      <a:round/>
                      <a:headEnd type="none" w="med" len="med"/>
                      <a:tailEnd type="none" w="med" len="med"/>
                    </a:lnL>
                    <a:lnR w="6350" cap="flat" cmpd="sng" algn="ctr">
                      <a:solidFill>
                        <a:srgbClr val="701DEE"/>
                      </a:solidFill>
                      <a:prstDash val="solid"/>
                      <a:round/>
                      <a:headEnd type="none" w="med" len="med"/>
                      <a:tailEnd type="none" w="med" len="med"/>
                    </a:lnR>
                    <a:lnT w="6350" cap="flat" cmpd="sng" algn="ctr">
                      <a:solidFill>
                        <a:srgbClr val="1026EE"/>
                      </a:solidFill>
                      <a:prstDash val="solid"/>
                      <a:round/>
                      <a:headEnd type="none" w="med" len="med"/>
                      <a:tailEnd type="none" w="med" len="med"/>
                    </a:lnT>
                    <a:lnB w="6350" cap="flat" cmpd="sng" algn="ctr">
                      <a:solidFill>
                        <a:srgbClr val="F027EE"/>
                      </a:solidFill>
                      <a:prstDash val="solid"/>
                      <a:round/>
                      <a:headEnd type="none" w="med" len="med"/>
                      <a:tailEnd type="none" w="med" len="med"/>
                    </a:lnB>
                    <a:noFill/>
                  </a:tcPr>
                </a:tc>
                <a:tc>
                  <a:txBody>
                    <a:bodyPr/>
                    <a:lstStyle/>
                    <a:p>
                      <a:pPr fontAlgn="t"/>
                      <a:r>
                        <a:rPr lang="en-US" sz="1050">
                          <a:effectLst/>
                          <a:latin typeface="Calibri" panose="020F0502020204030204" pitchFamily="34" charset="0"/>
                          <a:ea typeface="Calibri" panose="020F0502020204030204" pitchFamily="34" charset="0"/>
                          <a:cs typeface="Calibri" panose="020F0502020204030204" pitchFamily="34" charset="0"/>
                        </a:rPr>
                        <a:t>Negative Test Case</a:t>
                      </a:r>
                    </a:p>
                  </a:txBody>
                  <a:tcPr marL="9125" marR="9125" marT="1825" marB="1825">
                    <a:lnL w="6350" cap="flat" cmpd="sng" algn="ctr">
                      <a:solidFill>
                        <a:srgbClr val="701DEE"/>
                      </a:solidFill>
                      <a:prstDash val="solid"/>
                      <a:round/>
                      <a:headEnd type="none" w="med" len="med"/>
                      <a:tailEnd type="none" w="med" len="med"/>
                    </a:lnL>
                    <a:lnR w="6350" cap="flat" cmpd="sng" algn="ctr">
                      <a:solidFill>
                        <a:srgbClr val="1029EE"/>
                      </a:solidFill>
                      <a:prstDash val="solid"/>
                      <a:round/>
                      <a:headEnd type="none" w="med" len="med"/>
                      <a:tailEnd type="none" w="med" len="med"/>
                    </a:lnR>
                    <a:lnT w="6350" cap="flat" cmpd="sng" algn="ctr">
                      <a:solidFill>
                        <a:srgbClr val="501FEE"/>
                      </a:solidFill>
                      <a:prstDash val="solid"/>
                      <a:round/>
                      <a:headEnd type="none" w="med" len="med"/>
                      <a:tailEnd type="none" w="med" len="med"/>
                    </a:lnT>
                    <a:lnB w="6350" cap="flat" cmpd="sng" algn="ctr">
                      <a:solidFill>
                        <a:srgbClr val="9027EE"/>
                      </a:solidFill>
                      <a:prstDash val="solid"/>
                      <a:round/>
                      <a:headEnd type="none" w="med" len="med"/>
                      <a:tailEnd type="none" w="med" len="med"/>
                    </a:lnB>
                    <a:noFill/>
                  </a:tcPr>
                </a:tc>
                <a:extLst>
                  <a:ext uri="{0D108BD9-81ED-4DB2-BD59-A6C34878D82A}">
                    <a16:rowId xmlns:a16="http://schemas.microsoft.com/office/drawing/2014/main" val="1219107663"/>
                  </a:ext>
                </a:extLst>
              </a:tr>
            </a:tbl>
          </a:graphicData>
        </a:graphic>
      </p:graphicFrame>
      <p:pic>
        <p:nvPicPr>
          <p:cNvPr id="4" name="Picture 3">
            <a:extLst>
              <a:ext uri="{FF2B5EF4-FFF2-40B4-BE49-F238E27FC236}">
                <a16:creationId xmlns:a16="http://schemas.microsoft.com/office/drawing/2014/main" id="{971D15E4-5CEA-6F61-3C4C-BB64BC014877}"/>
              </a:ext>
            </a:extLst>
          </p:cNvPr>
          <p:cNvPicPr>
            <a:picLocks noChangeAspect="1"/>
          </p:cNvPicPr>
          <p:nvPr/>
        </p:nvPicPr>
        <p:blipFill>
          <a:blip r:embed="rId2"/>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36203267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21A76-CA51-FC71-9C68-63656954A60B}"/>
              </a:ext>
            </a:extLst>
          </p:cNvPr>
          <p:cNvSpPr>
            <a:spLocks noGrp="1"/>
          </p:cNvSpPr>
          <p:nvPr>
            <p:ph type="title"/>
          </p:nvPr>
        </p:nvSpPr>
        <p:spPr>
          <a:xfrm>
            <a:off x="3908612" y="50185"/>
            <a:ext cx="5764306" cy="454262"/>
          </a:xfrm>
        </p:spPr>
        <p:txBody>
          <a:bodyPr>
            <a:normAutofit fontScale="90000"/>
          </a:bodyPr>
          <a:lstStyle/>
          <a:p>
            <a:br>
              <a:rPr lang="en-US" sz="1800"/>
            </a:br>
            <a:r>
              <a:rPr lang="en-US" sz="1800"/>
              <a:t>Test case design for SHARING RULE - prompt</a:t>
            </a:r>
            <a:br>
              <a:rPr lang="en-US" sz="1200" b="0" i="0">
                <a:solidFill>
                  <a:srgbClr val="1E1E1E"/>
                </a:solidFill>
                <a:effectLst/>
                <a:latin typeface="Salesforce Sans"/>
              </a:rPr>
            </a:br>
            <a:endParaRPr lang="en-US" sz="1800"/>
          </a:p>
        </p:txBody>
      </p:sp>
      <p:sp>
        <p:nvSpPr>
          <p:cNvPr id="3" name="TextBox 2">
            <a:extLst>
              <a:ext uri="{FF2B5EF4-FFF2-40B4-BE49-F238E27FC236}">
                <a16:creationId xmlns:a16="http://schemas.microsoft.com/office/drawing/2014/main" id="{4CA8BECF-5569-3A71-11D9-51884AAC6D5D}"/>
              </a:ext>
            </a:extLst>
          </p:cNvPr>
          <p:cNvSpPr txBox="1"/>
          <p:nvPr/>
        </p:nvSpPr>
        <p:spPr>
          <a:xfrm>
            <a:off x="1001197" y="788907"/>
            <a:ext cx="5480883" cy="507029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ompt : </a:t>
            </a: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an you please write the Software testing test cases for below user story with negative and positive cases in Excel format with columns Test Case ID, Test Script, Test Steps, Expected Result, Actual Result, Pass/Fail, Test Data and Comme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1. Given user belong to Group: Africa All Us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avigate to App [-----]-&gt;Accounts-&gt;Sales opportunities-&gt; Select an existing opportunity with region equals Africa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1. User within this group should be able to view the opportunity record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 User within this group should not be able to modify the opportunity record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3. Opportunities outside the Africa region should not be affected by this sharing rule</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pic>
        <p:nvPicPr>
          <p:cNvPr id="10" name="Picture 9">
            <a:extLst>
              <a:ext uri="{FF2B5EF4-FFF2-40B4-BE49-F238E27FC236}">
                <a16:creationId xmlns:a16="http://schemas.microsoft.com/office/drawing/2014/main" id="{285CE6CA-EEE9-09AC-803E-E597BFE27701}"/>
              </a:ext>
            </a:extLst>
          </p:cNvPr>
          <p:cNvPicPr>
            <a:picLocks noChangeAspect="1"/>
          </p:cNvPicPr>
          <p:nvPr/>
        </p:nvPicPr>
        <p:blipFill>
          <a:blip r:embed="rId2"/>
          <a:stretch>
            <a:fillRect/>
          </a:stretch>
        </p:blipFill>
        <p:spPr>
          <a:xfrm>
            <a:off x="6553200" y="1686560"/>
            <a:ext cx="5486400" cy="2712720"/>
          </a:xfrm>
          <a:prstGeom prst="rect">
            <a:avLst/>
          </a:prstGeom>
        </p:spPr>
      </p:pic>
      <p:pic>
        <p:nvPicPr>
          <p:cNvPr id="4" name="Picture 3">
            <a:extLst>
              <a:ext uri="{FF2B5EF4-FFF2-40B4-BE49-F238E27FC236}">
                <a16:creationId xmlns:a16="http://schemas.microsoft.com/office/drawing/2014/main" id="{BA67FF6F-A489-03E6-672E-B09574434326}"/>
              </a:ext>
            </a:extLst>
          </p:cNvPr>
          <p:cNvPicPr>
            <a:picLocks noChangeAspect="1"/>
          </p:cNvPicPr>
          <p:nvPr/>
        </p:nvPicPr>
        <p:blipFill>
          <a:blip r:embed="rId3"/>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22625465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21A76-CA51-FC71-9C68-63656954A60B}"/>
              </a:ext>
            </a:extLst>
          </p:cNvPr>
          <p:cNvSpPr>
            <a:spLocks noGrp="1"/>
          </p:cNvSpPr>
          <p:nvPr>
            <p:ph type="title"/>
          </p:nvPr>
        </p:nvSpPr>
        <p:spPr>
          <a:xfrm>
            <a:off x="2682240" y="50185"/>
            <a:ext cx="6990678" cy="454262"/>
          </a:xfrm>
        </p:spPr>
        <p:txBody>
          <a:bodyPr>
            <a:normAutofit fontScale="90000"/>
          </a:bodyPr>
          <a:lstStyle/>
          <a:p>
            <a:br>
              <a:rPr lang="en-US" sz="1800"/>
            </a:br>
            <a:r>
              <a:rPr lang="en-US" sz="1800"/>
              <a:t>Test case design for SHARING rule – Prompt results</a:t>
            </a:r>
            <a:br>
              <a:rPr lang="en-US" sz="1200" b="0" i="0">
                <a:solidFill>
                  <a:srgbClr val="1E1E1E"/>
                </a:solidFill>
                <a:effectLst/>
                <a:latin typeface="Salesforce Sans"/>
              </a:rPr>
            </a:br>
            <a:endParaRPr lang="en-US" sz="1800"/>
          </a:p>
        </p:txBody>
      </p:sp>
      <p:sp>
        <p:nvSpPr>
          <p:cNvPr id="3" name="TextBox 2">
            <a:extLst>
              <a:ext uri="{FF2B5EF4-FFF2-40B4-BE49-F238E27FC236}">
                <a16:creationId xmlns:a16="http://schemas.microsoft.com/office/drawing/2014/main" id="{4CA8BECF-5569-3A71-11D9-51884AAC6D5D}"/>
              </a:ext>
            </a:extLst>
          </p:cNvPr>
          <p:cNvSpPr txBox="1"/>
          <p:nvPr/>
        </p:nvSpPr>
        <p:spPr>
          <a:xfrm>
            <a:off x="1001197" y="788907"/>
            <a:ext cx="10664622" cy="657681"/>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ults :</a:t>
            </a: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4" name="Table 3">
            <a:extLst>
              <a:ext uri="{FF2B5EF4-FFF2-40B4-BE49-F238E27FC236}">
                <a16:creationId xmlns:a16="http://schemas.microsoft.com/office/drawing/2014/main" id="{77095F25-5418-2CE4-DE24-8D8FF0AAECB0}"/>
              </a:ext>
            </a:extLst>
          </p:cNvPr>
          <p:cNvGraphicFramePr>
            <a:graphicFrameLocks noGrp="1"/>
          </p:cNvGraphicFramePr>
          <p:nvPr/>
        </p:nvGraphicFramePr>
        <p:xfrm>
          <a:off x="1097279" y="1327150"/>
          <a:ext cx="10568536" cy="5135562"/>
        </p:xfrm>
        <a:graphic>
          <a:graphicData uri="http://schemas.openxmlformats.org/drawingml/2006/table">
            <a:tbl>
              <a:tblPr/>
              <a:tblGrid>
                <a:gridCol w="1321067">
                  <a:extLst>
                    <a:ext uri="{9D8B030D-6E8A-4147-A177-3AD203B41FA5}">
                      <a16:colId xmlns:a16="http://schemas.microsoft.com/office/drawing/2014/main" val="1882226737"/>
                    </a:ext>
                  </a:extLst>
                </a:gridCol>
                <a:gridCol w="1321067">
                  <a:extLst>
                    <a:ext uri="{9D8B030D-6E8A-4147-A177-3AD203B41FA5}">
                      <a16:colId xmlns:a16="http://schemas.microsoft.com/office/drawing/2014/main" val="666190494"/>
                    </a:ext>
                  </a:extLst>
                </a:gridCol>
                <a:gridCol w="1321067">
                  <a:extLst>
                    <a:ext uri="{9D8B030D-6E8A-4147-A177-3AD203B41FA5}">
                      <a16:colId xmlns:a16="http://schemas.microsoft.com/office/drawing/2014/main" val="4117766385"/>
                    </a:ext>
                  </a:extLst>
                </a:gridCol>
                <a:gridCol w="1321067">
                  <a:extLst>
                    <a:ext uri="{9D8B030D-6E8A-4147-A177-3AD203B41FA5}">
                      <a16:colId xmlns:a16="http://schemas.microsoft.com/office/drawing/2014/main" val="170793547"/>
                    </a:ext>
                  </a:extLst>
                </a:gridCol>
                <a:gridCol w="1321067">
                  <a:extLst>
                    <a:ext uri="{9D8B030D-6E8A-4147-A177-3AD203B41FA5}">
                      <a16:colId xmlns:a16="http://schemas.microsoft.com/office/drawing/2014/main" val="944023800"/>
                    </a:ext>
                  </a:extLst>
                </a:gridCol>
                <a:gridCol w="1321067">
                  <a:extLst>
                    <a:ext uri="{9D8B030D-6E8A-4147-A177-3AD203B41FA5}">
                      <a16:colId xmlns:a16="http://schemas.microsoft.com/office/drawing/2014/main" val="263519813"/>
                    </a:ext>
                  </a:extLst>
                </a:gridCol>
                <a:gridCol w="1321067">
                  <a:extLst>
                    <a:ext uri="{9D8B030D-6E8A-4147-A177-3AD203B41FA5}">
                      <a16:colId xmlns:a16="http://schemas.microsoft.com/office/drawing/2014/main" val="1150723967"/>
                    </a:ext>
                  </a:extLst>
                </a:gridCol>
                <a:gridCol w="1321067">
                  <a:extLst>
                    <a:ext uri="{9D8B030D-6E8A-4147-A177-3AD203B41FA5}">
                      <a16:colId xmlns:a16="http://schemas.microsoft.com/office/drawing/2014/main" val="4052310814"/>
                    </a:ext>
                  </a:extLst>
                </a:gridCol>
              </a:tblGrid>
              <a:tr h="239548">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Case ID</a:t>
                      </a:r>
                    </a:p>
                  </a:txBody>
                  <a:tcPr marL="5494" marR="5494" marT="1099" marB="1099">
                    <a:lnL w="6350" cap="flat" cmpd="sng" algn="ctr">
                      <a:solidFill>
                        <a:srgbClr val="A02537"/>
                      </a:solidFill>
                      <a:prstDash val="solid"/>
                      <a:round/>
                      <a:headEnd type="none" w="med" len="med"/>
                      <a:tailEnd type="none" w="med" len="med"/>
                    </a:lnL>
                    <a:lnR w="6350" cap="flat" cmpd="sng" algn="ctr">
                      <a:solidFill>
                        <a:srgbClr val="602937"/>
                      </a:solidFill>
                      <a:prstDash val="solid"/>
                      <a:round/>
                      <a:headEnd type="none" w="med" len="med"/>
                      <a:tailEnd type="none" w="med" len="med"/>
                    </a:lnR>
                    <a:lnT w="6350" cap="flat" cmpd="sng" algn="ctr">
                      <a:solidFill>
                        <a:srgbClr val="203037"/>
                      </a:solidFill>
                      <a:prstDash val="solid"/>
                      <a:round/>
                      <a:headEnd type="none" w="med" len="med"/>
                      <a:tailEnd type="none" w="med" len="med"/>
                    </a:lnT>
                    <a:lnB w="6350" cap="flat" cmpd="sng" algn="ctr">
                      <a:solidFill>
                        <a:srgbClr val="60323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Script</a:t>
                      </a:r>
                    </a:p>
                  </a:txBody>
                  <a:tcPr marL="5494" marR="5494" marT="1099" marB="1099">
                    <a:lnL w="6350" cap="flat" cmpd="sng" algn="ctr">
                      <a:solidFill>
                        <a:srgbClr val="602937"/>
                      </a:solidFill>
                      <a:prstDash val="solid"/>
                      <a:round/>
                      <a:headEnd type="none" w="med" len="med"/>
                      <a:tailEnd type="none" w="med" len="med"/>
                    </a:lnL>
                    <a:lnR w="6350" cap="flat" cmpd="sng" algn="ctr">
                      <a:solidFill>
                        <a:srgbClr val="603837"/>
                      </a:solidFill>
                      <a:prstDash val="solid"/>
                      <a:round/>
                      <a:headEnd type="none" w="med" len="med"/>
                      <a:tailEnd type="none" w="med" len="med"/>
                    </a:lnR>
                    <a:lnT w="6350" cap="flat" cmpd="sng" algn="ctr">
                      <a:solidFill>
                        <a:srgbClr val="E02437"/>
                      </a:solidFill>
                      <a:prstDash val="solid"/>
                      <a:round/>
                      <a:headEnd type="none" w="med" len="med"/>
                      <a:tailEnd type="none" w="med" len="med"/>
                    </a:lnT>
                    <a:lnB w="6350" cap="flat" cmpd="sng" algn="ctr">
                      <a:solidFill>
                        <a:srgbClr val="C02C3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Steps</a:t>
                      </a:r>
                    </a:p>
                  </a:txBody>
                  <a:tcPr marL="5494" marR="5494" marT="1099" marB="1099">
                    <a:lnL w="6350" cap="flat" cmpd="sng" algn="ctr">
                      <a:solidFill>
                        <a:srgbClr val="603837"/>
                      </a:solidFill>
                      <a:prstDash val="solid"/>
                      <a:round/>
                      <a:headEnd type="none" w="med" len="med"/>
                      <a:tailEnd type="none" w="med" len="med"/>
                    </a:lnL>
                    <a:lnR w="6350" cap="flat" cmpd="sng" algn="ctr">
                      <a:solidFill>
                        <a:srgbClr val="203037"/>
                      </a:solidFill>
                      <a:prstDash val="solid"/>
                      <a:round/>
                      <a:headEnd type="none" w="med" len="med"/>
                      <a:tailEnd type="none" w="med" len="med"/>
                    </a:lnR>
                    <a:lnT w="6350" cap="flat" cmpd="sng" algn="ctr">
                      <a:solidFill>
                        <a:srgbClr val="602937"/>
                      </a:solidFill>
                      <a:prstDash val="solid"/>
                      <a:round/>
                      <a:headEnd type="none" w="med" len="med"/>
                      <a:tailEnd type="none" w="med" len="med"/>
                    </a:lnT>
                    <a:lnB w="6350" cap="flat" cmpd="sng" algn="ctr">
                      <a:solidFill>
                        <a:srgbClr val="20303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Expected Result</a:t>
                      </a:r>
                    </a:p>
                  </a:txBody>
                  <a:tcPr marL="5494" marR="5494" marT="1099" marB="1099">
                    <a:lnL w="6350" cap="flat" cmpd="sng" algn="ctr">
                      <a:solidFill>
                        <a:srgbClr val="203037"/>
                      </a:solidFill>
                      <a:prstDash val="solid"/>
                      <a:round/>
                      <a:headEnd type="none" w="med" len="med"/>
                      <a:tailEnd type="none" w="med" len="med"/>
                    </a:lnL>
                    <a:lnR w="6350" cap="flat" cmpd="sng" algn="ctr">
                      <a:solidFill>
                        <a:srgbClr val="402B37"/>
                      </a:solidFill>
                      <a:prstDash val="solid"/>
                      <a:round/>
                      <a:headEnd type="none" w="med" len="med"/>
                      <a:tailEnd type="none" w="med" len="med"/>
                    </a:lnR>
                    <a:lnT w="6350" cap="flat" cmpd="sng" algn="ctr">
                      <a:solidFill>
                        <a:srgbClr val="602337"/>
                      </a:solidFill>
                      <a:prstDash val="solid"/>
                      <a:round/>
                      <a:headEnd type="none" w="med" len="med"/>
                      <a:tailEnd type="none" w="med" len="med"/>
                    </a:lnT>
                    <a:lnB w="6350" cap="flat" cmpd="sng" algn="ctr">
                      <a:solidFill>
                        <a:srgbClr val="C0233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Actual Result</a:t>
                      </a:r>
                    </a:p>
                  </a:txBody>
                  <a:tcPr marL="5494" marR="5494" marT="1099" marB="1099">
                    <a:lnL w="6350" cap="flat" cmpd="sng" algn="ctr">
                      <a:solidFill>
                        <a:srgbClr val="402B37"/>
                      </a:solidFill>
                      <a:prstDash val="solid"/>
                      <a:round/>
                      <a:headEnd type="none" w="med" len="med"/>
                      <a:tailEnd type="none" w="med" len="med"/>
                    </a:lnL>
                    <a:lnR w="6350" cap="flat" cmpd="sng" algn="ctr">
                      <a:solidFill>
                        <a:srgbClr val="203037"/>
                      </a:solidFill>
                      <a:prstDash val="solid"/>
                      <a:round/>
                      <a:headEnd type="none" w="med" len="med"/>
                      <a:tailEnd type="none" w="med" len="med"/>
                    </a:lnR>
                    <a:lnT w="6350" cap="flat" cmpd="sng" algn="ctr">
                      <a:solidFill>
                        <a:srgbClr val="C02337"/>
                      </a:solidFill>
                      <a:prstDash val="solid"/>
                      <a:round/>
                      <a:headEnd type="none" w="med" len="med"/>
                      <a:tailEnd type="none" w="med" len="med"/>
                    </a:lnT>
                    <a:lnB w="6350" cap="flat" cmpd="sng" algn="ctr">
                      <a:solidFill>
                        <a:srgbClr val="60383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Pass/Fail</a:t>
                      </a:r>
                    </a:p>
                  </a:txBody>
                  <a:tcPr marL="5494" marR="5494" marT="1099" marB="1099">
                    <a:lnL w="6350" cap="flat" cmpd="sng" algn="ctr">
                      <a:solidFill>
                        <a:srgbClr val="203037"/>
                      </a:solidFill>
                      <a:prstDash val="solid"/>
                      <a:round/>
                      <a:headEnd type="none" w="med" len="med"/>
                      <a:tailEnd type="none" w="med" len="med"/>
                    </a:lnL>
                    <a:lnR w="6350" cap="flat" cmpd="sng" algn="ctr">
                      <a:solidFill>
                        <a:srgbClr val="002337"/>
                      </a:solidFill>
                      <a:prstDash val="solid"/>
                      <a:round/>
                      <a:headEnd type="none" w="med" len="med"/>
                      <a:tailEnd type="none" w="med" len="med"/>
                    </a:lnR>
                    <a:lnT w="6350" cap="flat" cmpd="sng" algn="ctr">
                      <a:solidFill>
                        <a:srgbClr val="C03237"/>
                      </a:solidFill>
                      <a:prstDash val="solid"/>
                      <a:round/>
                      <a:headEnd type="none" w="med" len="med"/>
                      <a:tailEnd type="none" w="med" len="med"/>
                    </a:lnT>
                    <a:lnB w="6350" cap="flat" cmpd="sng" algn="ctr">
                      <a:solidFill>
                        <a:srgbClr val="E0243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Data</a:t>
                      </a:r>
                    </a:p>
                  </a:txBody>
                  <a:tcPr marL="5494" marR="5494" marT="1099" marB="1099">
                    <a:lnL w="6350" cap="flat" cmpd="sng" algn="ctr">
                      <a:solidFill>
                        <a:srgbClr val="002337"/>
                      </a:solidFill>
                      <a:prstDash val="solid"/>
                      <a:round/>
                      <a:headEnd type="none" w="med" len="med"/>
                      <a:tailEnd type="none" w="med" len="med"/>
                    </a:lnL>
                    <a:lnR w="6350" cap="flat" cmpd="sng" algn="ctr">
                      <a:solidFill>
                        <a:srgbClr val="E03337"/>
                      </a:solidFill>
                      <a:prstDash val="solid"/>
                      <a:round/>
                      <a:headEnd type="none" w="med" len="med"/>
                      <a:tailEnd type="none" w="med" len="med"/>
                    </a:lnR>
                    <a:lnT w="6350" cap="flat" cmpd="sng" algn="ctr">
                      <a:solidFill>
                        <a:srgbClr val="603837"/>
                      </a:solidFill>
                      <a:prstDash val="solid"/>
                      <a:round/>
                      <a:headEnd type="none" w="med" len="med"/>
                      <a:tailEnd type="none" w="med" len="med"/>
                    </a:lnT>
                    <a:lnB w="6350" cap="flat" cmpd="sng" algn="ctr">
                      <a:solidFill>
                        <a:srgbClr val="60383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Comments</a:t>
                      </a:r>
                    </a:p>
                  </a:txBody>
                  <a:tcPr marL="5494" marR="5494" marT="1099" marB="1099">
                    <a:lnL w="6350" cap="flat" cmpd="sng" algn="ctr">
                      <a:solidFill>
                        <a:srgbClr val="E03337"/>
                      </a:solidFill>
                      <a:prstDash val="solid"/>
                      <a:round/>
                      <a:headEnd type="none" w="med" len="med"/>
                      <a:tailEnd type="none" w="med" len="med"/>
                    </a:lnL>
                    <a:lnR w="6350" cap="flat" cmpd="sng" algn="ctr">
                      <a:solidFill>
                        <a:srgbClr val="A03137"/>
                      </a:solidFill>
                      <a:prstDash val="solid"/>
                      <a:round/>
                      <a:headEnd type="none" w="med" len="med"/>
                      <a:tailEnd type="none" w="med" len="med"/>
                    </a:lnR>
                    <a:lnT w="6350" cap="flat" cmpd="sng" algn="ctr">
                      <a:solidFill>
                        <a:srgbClr val="A02237"/>
                      </a:solidFill>
                      <a:prstDash val="solid"/>
                      <a:round/>
                      <a:headEnd type="none" w="med" len="med"/>
                      <a:tailEnd type="none" w="med" len="med"/>
                    </a:lnT>
                    <a:lnB w="6350" cap="flat" cmpd="sng" algn="ctr">
                      <a:solidFill>
                        <a:srgbClr val="603837"/>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727208634"/>
                  </a:ext>
                </a:extLst>
              </a:tr>
              <a:tr h="1426301">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C001</a:t>
                      </a:r>
                    </a:p>
                  </a:txBody>
                  <a:tcPr marL="5494" marR="5494" marT="1099" marB="1099">
                    <a:lnL w="6350" cap="flat" cmpd="sng" algn="ctr">
                      <a:solidFill>
                        <a:srgbClr val="603837"/>
                      </a:solidFill>
                      <a:prstDash val="solid"/>
                      <a:round/>
                      <a:headEnd type="none" w="med" len="med"/>
                      <a:tailEnd type="none" w="med" len="med"/>
                    </a:lnL>
                    <a:lnR w="6350" cap="flat" cmpd="sng" algn="ctr">
                      <a:solidFill>
                        <a:srgbClr val="E03337"/>
                      </a:solidFill>
                      <a:prstDash val="solid"/>
                      <a:round/>
                      <a:headEnd type="none" w="med" len="med"/>
                      <a:tailEnd type="none" w="med" len="med"/>
                    </a:lnR>
                    <a:lnT w="6350" cap="flat" cmpd="sng" algn="ctr">
                      <a:solidFill>
                        <a:srgbClr val="603237"/>
                      </a:solidFill>
                      <a:prstDash val="solid"/>
                      <a:round/>
                      <a:headEnd type="none" w="med" len="med"/>
                      <a:tailEnd type="none" w="med" len="med"/>
                    </a:lnT>
                    <a:lnB w="6350" cap="flat" cmpd="sng" algn="ctr">
                      <a:solidFill>
                        <a:srgbClr val="2030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Verify view access for Africa group</a:t>
                      </a:r>
                    </a:p>
                  </a:txBody>
                  <a:tcPr marL="5494" marR="5494" marT="1099" marB="1099">
                    <a:lnL w="6350" cap="flat" cmpd="sng" algn="ctr">
                      <a:solidFill>
                        <a:srgbClr val="E03337"/>
                      </a:solidFill>
                      <a:prstDash val="solid"/>
                      <a:round/>
                      <a:headEnd type="none" w="med" len="med"/>
                      <a:tailEnd type="none" w="med" len="med"/>
                    </a:lnL>
                    <a:lnR w="6350" cap="flat" cmpd="sng" algn="ctr">
                      <a:solidFill>
                        <a:srgbClr val="002337"/>
                      </a:solidFill>
                      <a:prstDash val="solid"/>
                      <a:round/>
                      <a:headEnd type="none" w="med" len="med"/>
                      <a:tailEnd type="none" w="med" len="med"/>
                    </a:lnR>
                    <a:lnT w="6350" cap="flat" cmpd="sng" algn="ctr">
                      <a:solidFill>
                        <a:srgbClr val="C02C37"/>
                      </a:solidFill>
                      <a:prstDash val="solid"/>
                      <a:round/>
                      <a:headEnd type="none" w="med" len="med"/>
                      <a:tailEnd type="none" w="med" len="med"/>
                    </a:lnT>
                    <a:lnB w="6350" cap="flat" cmpd="sng" algn="ctr">
                      <a:solidFill>
                        <a:srgbClr val="2030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1. Navigate to App -&gt; Accounts -&gt; Sales opportunities. 2. Select an existing opportunity with region equals Africa.</a:t>
                      </a:r>
                    </a:p>
                  </a:txBody>
                  <a:tcPr marL="5494" marR="5494" marT="1099" marB="1099">
                    <a:lnL w="6350" cap="flat" cmpd="sng" algn="ctr">
                      <a:solidFill>
                        <a:srgbClr val="002337"/>
                      </a:solidFill>
                      <a:prstDash val="solid"/>
                      <a:round/>
                      <a:headEnd type="none" w="med" len="med"/>
                      <a:tailEnd type="none" w="med" len="med"/>
                    </a:lnL>
                    <a:lnR w="6350" cap="flat" cmpd="sng" algn="ctr">
                      <a:solidFill>
                        <a:srgbClr val="203037"/>
                      </a:solidFill>
                      <a:prstDash val="solid"/>
                      <a:round/>
                      <a:headEnd type="none" w="med" len="med"/>
                      <a:tailEnd type="none" w="med" len="med"/>
                    </a:lnR>
                    <a:lnT w="6350" cap="flat" cmpd="sng" algn="ctr">
                      <a:solidFill>
                        <a:srgbClr val="203037"/>
                      </a:solidFill>
                      <a:prstDash val="solid"/>
                      <a:round/>
                      <a:headEnd type="none" w="med" len="med"/>
                      <a:tailEnd type="none" w="med" len="med"/>
                    </a:lnT>
                    <a:lnB w="6350" cap="flat" cmpd="sng" algn="ctr">
                      <a:solidFill>
                        <a:srgbClr val="C023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User should be able to view the opportunity records.</a:t>
                      </a:r>
                    </a:p>
                  </a:txBody>
                  <a:tcPr marL="5494" marR="5494" marT="1099" marB="1099">
                    <a:lnL w="6350" cap="flat" cmpd="sng" algn="ctr">
                      <a:solidFill>
                        <a:srgbClr val="203037"/>
                      </a:solidFill>
                      <a:prstDash val="solid"/>
                      <a:round/>
                      <a:headEnd type="none" w="med" len="med"/>
                      <a:tailEnd type="none" w="med" len="med"/>
                    </a:lnL>
                    <a:lnR w="6350" cap="flat" cmpd="sng" algn="ctr">
                      <a:solidFill>
                        <a:srgbClr val="802D37"/>
                      </a:solidFill>
                      <a:prstDash val="solid"/>
                      <a:round/>
                      <a:headEnd type="none" w="med" len="med"/>
                      <a:tailEnd type="none" w="med" len="med"/>
                    </a:lnR>
                    <a:lnT w="6350" cap="flat" cmpd="sng" algn="ctr">
                      <a:solidFill>
                        <a:srgbClr val="C02337"/>
                      </a:solidFill>
                      <a:prstDash val="solid"/>
                      <a:round/>
                      <a:headEnd type="none" w="med" len="med"/>
                      <a:tailEnd type="none" w="med" len="med"/>
                    </a:lnT>
                    <a:lnB w="6350" cap="flat" cmpd="sng" algn="ctr">
                      <a:solidFill>
                        <a:srgbClr val="A02B37"/>
                      </a:solidFill>
                      <a:prstDash val="solid"/>
                      <a:round/>
                      <a:headEnd type="none" w="med" len="med"/>
                      <a:tailEnd type="none" w="med" len="med"/>
                    </a:lnB>
                    <a:solidFill>
                      <a:srgbClr val="FFFFFF"/>
                    </a:solidFill>
                  </a:tcPr>
                </a:tc>
                <a:tc>
                  <a:txBody>
                    <a:bodyPr/>
                    <a:lstStyle/>
                    <a:p>
                      <a:pPr fontAlgn="t"/>
                      <a:r>
                        <a:rPr lang="en-US" sz="1200" b="0" i="0" kern="1200">
                          <a:solidFill>
                            <a:schemeClr val="tx1"/>
                          </a:solidFill>
                          <a:effectLst/>
                          <a:latin typeface="Calibri" panose="020F0502020204030204" pitchFamily="34" charset="0"/>
                          <a:ea typeface="Calibri" panose="020F0502020204030204" pitchFamily="34" charset="0"/>
                          <a:cs typeface="Calibri" panose="020F0502020204030204" pitchFamily="34" charset="0"/>
                        </a:rPr>
                        <a:t>To be filled after test execution</a:t>
                      </a:r>
                      <a:endParaRPr lang="en-US" sz="1200">
                        <a:effectLst/>
                        <a:latin typeface="Calibri" panose="020F0502020204030204" pitchFamily="34" charset="0"/>
                        <a:ea typeface="Calibri" panose="020F0502020204030204" pitchFamily="34" charset="0"/>
                        <a:cs typeface="Calibri" panose="020F0502020204030204" pitchFamily="34" charset="0"/>
                      </a:endParaRPr>
                    </a:p>
                  </a:txBody>
                  <a:tcPr marL="5494" marR="5494" marT="1099" marB="1099">
                    <a:lnL w="6350" cap="flat" cmpd="sng" algn="ctr">
                      <a:solidFill>
                        <a:srgbClr val="802D37"/>
                      </a:solidFill>
                      <a:prstDash val="solid"/>
                      <a:round/>
                      <a:headEnd type="none" w="med" len="med"/>
                      <a:tailEnd type="none" w="med" len="med"/>
                    </a:lnL>
                    <a:lnR w="6350" cap="flat" cmpd="sng" algn="ctr">
                      <a:solidFill>
                        <a:srgbClr val="A02237"/>
                      </a:solidFill>
                      <a:prstDash val="solid"/>
                      <a:round/>
                      <a:headEnd type="none" w="med" len="med"/>
                      <a:tailEnd type="none" w="med" len="med"/>
                    </a:lnR>
                    <a:lnT w="6350" cap="flat" cmpd="sng" algn="ctr">
                      <a:solidFill>
                        <a:srgbClr val="603837"/>
                      </a:solidFill>
                      <a:prstDash val="solid"/>
                      <a:round/>
                      <a:headEnd type="none" w="med" len="med"/>
                      <a:tailEnd type="none" w="med" len="med"/>
                    </a:lnT>
                    <a:lnB w="6350" cap="flat" cmpd="sng" algn="ctr">
                      <a:solidFill>
                        <a:srgbClr val="603237"/>
                      </a:solidFill>
                      <a:prstDash val="solid"/>
                      <a:round/>
                      <a:headEnd type="none" w="med" len="med"/>
                      <a:tailEnd type="none" w="med" len="med"/>
                    </a:lnB>
                    <a:solidFill>
                      <a:srgbClr val="FFFFFF"/>
                    </a:solidFill>
                  </a:tcPr>
                </a:tc>
                <a:tc>
                  <a:txBody>
                    <a:bodyPr/>
                    <a:lstStyle/>
                    <a:p>
                      <a:pPr fontAlgn="t"/>
                      <a:r>
                        <a:rPr lang="en-US" sz="1200" b="0" i="0" kern="1200">
                          <a:solidFill>
                            <a:schemeClr val="tx1"/>
                          </a:solidFill>
                          <a:effectLst/>
                          <a:latin typeface="Calibri" panose="020F0502020204030204" pitchFamily="34" charset="0"/>
                          <a:ea typeface="Calibri" panose="020F0502020204030204" pitchFamily="34" charset="0"/>
                          <a:cs typeface="Calibri" panose="020F0502020204030204" pitchFamily="34" charset="0"/>
                        </a:rPr>
                        <a:t>To be filled after test execution</a:t>
                      </a:r>
                      <a:endParaRPr lang="en-US" sz="1200">
                        <a:effectLst/>
                        <a:latin typeface="Calibri" panose="020F0502020204030204" pitchFamily="34" charset="0"/>
                        <a:ea typeface="Calibri" panose="020F0502020204030204" pitchFamily="34" charset="0"/>
                        <a:cs typeface="Calibri" panose="020F0502020204030204" pitchFamily="34" charset="0"/>
                      </a:endParaRPr>
                    </a:p>
                  </a:txBody>
                  <a:tcPr marL="5494" marR="5494" marT="1099" marB="1099">
                    <a:lnL w="6350" cap="flat" cmpd="sng" algn="ctr">
                      <a:solidFill>
                        <a:srgbClr val="A02237"/>
                      </a:solidFill>
                      <a:prstDash val="solid"/>
                      <a:round/>
                      <a:headEnd type="none" w="med" len="med"/>
                      <a:tailEnd type="none" w="med" len="med"/>
                    </a:lnL>
                    <a:lnR w="6350" cap="flat" cmpd="sng" algn="ctr">
                      <a:solidFill>
                        <a:srgbClr val="002337"/>
                      </a:solidFill>
                      <a:prstDash val="solid"/>
                      <a:round/>
                      <a:headEnd type="none" w="med" len="med"/>
                      <a:tailEnd type="none" w="med" len="med"/>
                    </a:lnR>
                    <a:lnT w="6350" cap="flat" cmpd="sng" algn="ctr">
                      <a:solidFill>
                        <a:srgbClr val="E02437"/>
                      </a:solidFill>
                      <a:prstDash val="solid"/>
                      <a:round/>
                      <a:headEnd type="none" w="med" len="med"/>
                      <a:tailEnd type="none" w="med" len="med"/>
                    </a:lnT>
                    <a:lnB w="6350" cap="flat" cmpd="sng" algn="ctr">
                      <a:solidFill>
                        <a:srgbClr val="E033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Group: Africa All Users, Region: Africa</a:t>
                      </a:r>
                    </a:p>
                  </a:txBody>
                  <a:tcPr marL="5494" marR="5494" marT="1099" marB="1099">
                    <a:lnL w="6350" cap="flat" cmpd="sng" algn="ctr">
                      <a:solidFill>
                        <a:srgbClr val="002337"/>
                      </a:solidFill>
                      <a:prstDash val="solid"/>
                      <a:round/>
                      <a:headEnd type="none" w="med" len="med"/>
                      <a:tailEnd type="none" w="med" len="med"/>
                    </a:lnL>
                    <a:lnR w="6350" cap="flat" cmpd="sng" algn="ctr">
                      <a:solidFill>
                        <a:srgbClr val="602937"/>
                      </a:solidFill>
                      <a:prstDash val="solid"/>
                      <a:round/>
                      <a:headEnd type="none" w="med" len="med"/>
                      <a:tailEnd type="none" w="med" len="med"/>
                    </a:lnR>
                    <a:lnT w="6350" cap="flat" cmpd="sng" algn="ctr">
                      <a:solidFill>
                        <a:srgbClr val="603837"/>
                      </a:solidFill>
                      <a:prstDash val="solid"/>
                      <a:round/>
                      <a:headEnd type="none" w="med" len="med"/>
                      <a:tailEnd type="none" w="med" len="med"/>
                    </a:lnT>
                    <a:lnB w="6350" cap="flat" cmpd="sng" algn="ctr">
                      <a:solidFill>
                        <a:srgbClr val="6038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Positive Test Case</a:t>
                      </a:r>
                    </a:p>
                  </a:txBody>
                  <a:tcPr marL="5494" marR="5494" marT="1099" marB="1099">
                    <a:lnL w="6350" cap="flat" cmpd="sng" algn="ctr">
                      <a:solidFill>
                        <a:srgbClr val="602937"/>
                      </a:solidFill>
                      <a:prstDash val="solid"/>
                      <a:round/>
                      <a:headEnd type="none" w="med" len="med"/>
                      <a:tailEnd type="none" w="med" len="med"/>
                    </a:lnL>
                    <a:lnR w="6350" cap="flat" cmpd="sng" algn="ctr">
                      <a:solidFill>
                        <a:srgbClr val="203037"/>
                      </a:solidFill>
                      <a:prstDash val="solid"/>
                      <a:round/>
                      <a:headEnd type="none" w="med" len="med"/>
                      <a:tailEnd type="none" w="med" len="med"/>
                    </a:lnR>
                    <a:lnT w="6350" cap="flat" cmpd="sng" algn="ctr">
                      <a:solidFill>
                        <a:srgbClr val="603837"/>
                      </a:solidFill>
                      <a:prstDash val="solid"/>
                      <a:round/>
                      <a:headEnd type="none" w="med" len="med"/>
                      <a:tailEnd type="none" w="med" len="med"/>
                    </a:lnT>
                    <a:lnB w="6350" cap="flat" cmpd="sng" algn="ctr">
                      <a:solidFill>
                        <a:srgbClr val="603237"/>
                      </a:solidFill>
                      <a:prstDash val="solid"/>
                      <a:round/>
                      <a:headEnd type="none" w="med" len="med"/>
                      <a:tailEnd type="none" w="med" len="med"/>
                    </a:lnB>
                    <a:solidFill>
                      <a:srgbClr val="FFFFFF"/>
                    </a:solidFill>
                  </a:tcPr>
                </a:tc>
                <a:extLst>
                  <a:ext uri="{0D108BD9-81ED-4DB2-BD59-A6C34878D82A}">
                    <a16:rowId xmlns:a16="http://schemas.microsoft.com/office/drawing/2014/main" val="3497639667"/>
                  </a:ext>
                </a:extLst>
              </a:tr>
              <a:tr h="1995942">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C002</a:t>
                      </a:r>
                    </a:p>
                  </a:txBody>
                  <a:tcPr marL="5494" marR="5494" marT="1099" marB="1099">
                    <a:lnL w="6350" cap="flat" cmpd="sng" algn="ctr">
                      <a:solidFill>
                        <a:srgbClr val="602937"/>
                      </a:solidFill>
                      <a:prstDash val="solid"/>
                      <a:round/>
                      <a:headEnd type="none" w="med" len="med"/>
                      <a:tailEnd type="none" w="med" len="med"/>
                    </a:lnL>
                    <a:lnR w="6350" cap="flat" cmpd="sng" algn="ctr">
                      <a:solidFill>
                        <a:srgbClr val="402537"/>
                      </a:solidFill>
                      <a:prstDash val="solid"/>
                      <a:round/>
                      <a:headEnd type="none" w="med" len="med"/>
                      <a:tailEnd type="none" w="med" len="med"/>
                    </a:lnR>
                    <a:lnT w="6350" cap="flat" cmpd="sng" algn="ctr">
                      <a:solidFill>
                        <a:srgbClr val="203037"/>
                      </a:solidFill>
                      <a:prstDash val="solid"/>
                      <a:round/>
                      <a:headEnd type="none" w="med" len="med"/>
                      <a:tailEnd type="none" w="med" len="med"/>
                    </a:lnT>
                    <a:lnB w="6350" cap="flat" cmpd="sng" algn="ctr">
                      <a:solidFill>
                        <a:srgbClr val="6038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Verify modification restriction for Africa group</a:t>
                      </a:r>
                    </a:p>
                  </a:txBody>
                  <a:tcPr marL="5494" marR="5494" marT="1099" marB="1099">
                    <a:lnL w="6350" cap="flat" cmpd="sng" algn="ctr">
                      <a:solidFill>
                        <a:srgbClr val="402537"/>
                      </a:solidFill>
                      <a:prstDash val="solid"/>
                      <a:round/>
                      <a:headEnd type="none" w="med" len="med"/>
                      <a:tailEnd type="none" w="med" len="med"/>
                    </a:lnL>
                    <a:lnR w="6350" cap="flat" cmpd="sng" algn="ctr">
                      <a:solidFill>
                        <a:srgbClr val="602937"/>
                      </a:solidFill>
                      <a:prstDash val="solid"/>
                      <a:round/>
                      <a:headEnd type="none" w="med" len="med"/>
                      <a:tailEnd type="none" w="med" len="med"/>
                    </a:lnR>
                    <a:lnT w="6350" cap="flat" cmpd="sng" algn="ctr">
                      <a:solidFill>
                        <a:srgbClr val="203037"/>
                      </a:solidFill>
                      <a:prstDash val="solid"/>
                      <a:round/>
                      <a:headEnd type="none" w="med" len="med"/>
                      <a:tailEnd type="none" w="med" len="med"/>
                    </a:lnT>
                    <a:lnB w="6350" cap="flat" cmpd="sng" algn="ctr">
                      <a:solidFill>
                        <a:srgbClr val="6038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1. Navigate to App -&gt; Accounts -&gt; Sales opportunities. 2. Select an existing opportunity with region equals Africa. 3. Attempt to modify the opportunity records.</a:t>
                      </a:r>
                    </a:p>
                  </a:txBody>
                  <a:tcPr marL="5494" marR="5494" marT="1099" marB="1099">
                    <a:lnL w="6350" cap="flat" cmpd="sng" algn="ctr">
                      <a:solidFill>
                        <a:srgbClr val="602937"/>
                      </a:solidFill>
                      <a:prstDash val="solid"/>
                      <a:round/>
                      <a:headEnd type="none" w="med" len="med"/>
                      <a:tailEnd type="none" w="med" len="med"/>
                    </a:lnL>
                    <a:lnR w="6350" cap="flat" cmpd="sng" algn="ctr">
                      <a:solidFill>
                        <a:srgbClr val="802D37"/>
                      </a:solidFill>
                      <a:prstDash val="solid"/>
                      <a:round/>
                      <a:headEnd type="none" w="med" len="med"/>
                      <a:tailEnd type="none" w="med" len="med"/>
                    </a:lnR>
                    <a:lnT w="6350" cap="flat" cmpd="sng" algn="ctr">
                      <a:solidFill>
                        <a:srgbClr val="C02337"/>
                      </a:solidFill>
                      <a:prstDash val="solid"/>
                      <a:round/>
                      <a:headEnd type="none" w="med" len="med"/>
                      <a:tailEnd type="none" w="med" len="med"/>
                    </a:lnT>
                    <a:lnB w="6350" cap="flat" cmpd="sng" algn="ctr">
                      <a:solidFill>
                        <a:srgbClr val="6032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User should not be able to modify the opportunity records.</a:t>
                      </a:r>
                    </a:p>
                  </a:txBody>
                  <a:tcPr marL="5494" marR="5494" marT="1099" marB="1099">
                    <a:lnL w="6350" cap="flat" cmpd="sng" algn="ctr">
                      <a:solidFill>
                        <a:srgbClr val="802D37"/>
                      </a:solidFill>
                      <a:prstDash val="solid"/>
                      <a:round/>
                      <a:headEnd type="none" w="med" len="med"/>
                      <a:tailEnd type="none" w="med" len="med"/>
                    </a:lnL>
                    <a:lnR w="6350" cap="flat" cmpd="sng" algn="ctr">
                      <a:solidFill>
                        <a:srgbClr val="602937"/>
                      </a:solidFill>
                      <a:prstDash val="solid"/>
                      <a:round/>
                      <a:headEnd type="none" w="med" len="med"/>
                      <a:tailEnd type="none" w="med" len="med"/>
                    </a:lnR>
                    <a:lnT w="6350" cap="flat" cmpd="sng" algn="ctr">
                      <a:solidFill>
                        <a:srgbClr val="A02B37"/>
                      </a:solidFill>
                      <a:prstDash val="solid"/>
                      <a:round/>
                      <a:headEnd type="none" w="med" len="med"/>
                      <a:tailEnd type="none" w="med" len="med"/>
                    </a:lnT>
                    <a:lnB w="6350" cap="flat" cmpd="sng" algn="ctr">
                      <a:solidFill>
                        <a:srgbClr val="202737"/>
                      </a:solidFill>
                      <a:prstDash val="solid"/>
                      <a:round/>
                      <a:headEnd type="none" w="med" len="med"/>
                      <a:tailEnd type="none" w="med" len="med"/>
                    </a:lnB>
                    <a:solidFill>
                      <a:srgbClr val="FFFFFF"/>
                    </a:solidFill>
                  </a:tcPr>
                </a:tc>
                <a:tc>
                  <a:txBody>
                    <a:bodyPr/>
                    <a:lstStyle/>
                    <a:p>
                      <a:pPr fontAlgn="t"/>
                      <a:r>
                        <a:rPr lang="en-US" sz="1200" b="0" i="0" kern="1200">
                          <a:solidFill>
                            <a:schemeClr val="tx1"/>
                          </a:solidFill>
                          <a:effectLst/>
                          <a:latin typeface="Calibri" panose="020F0502020204030204" pitchFamily="34" charset="0"/>
                          <a:ea typeface="Calibri" panose="020F0502020204030204" pitchFamily="34" charset="0"/>
                          <a:cs typeface="Calibri" panose="020F0502020204030204" pitchFamily="34" charset="0"/>
                        </a:rPr>
                        <a:t>To be filled after test execution</a:t>
                      </a:r>
                      <a:endParaRPr lang="en-US" sz="1200">
                        <a:effectLst/>
                        <a:latin typeface="Calibri" panose="020F0502020204030204" pitchFamily="34" charset="0"/>
                        <a:ea typeface="Calibri" panose="020F0502020204030204" pitchFamily="34" charset="0"/>
                        <a:cs typeface="Calibri" panose="020F0502020204030204" pitchFamily="34" charset="0"/>
                      </a:endParaRPr>
                    </a:p>
                  </a:txBody>
                  <a:tcPr marL="5494" marR="5494" marT="1099" marB="1099">
                    <a:lnL w="6350" cap="flat" cmpd="sng" algn="ctr">
                      <a:solidFill>
                        <a:srgbClr val="602937"/>
                      </a:solidFill>
                      <a:prstDash val="solid"/>
                      <a:round/>
                      <a:headEnd type="none" w="med" len="med"/>
                      <a:tailEnd type="none" w="med" len="med"/>
                    </a:lnL>
                    <a:lnR w="6350" cap="flat" cmpd="sng" algn="ctr">
                      <a:solidFill>
                        <a:srgbClr val="802D37"/>
                      </a:solidFill>
                      <a:prstDash val="solid"/>
                      <a:round/>
                      <a:headEnd type="none" w="med" len="med"/>
                      <a:tailEnd type="none" w="med" len="med"/>
                    </a:lnR>
                    <a:lnT w="6350" cap="flat" cmpd="sng" algn="ctr">
                      <a:solidFill>
                        <a:srgbClr val="603237"/>
                      </a:solidFill>
                      <a:prstDash val="solid"/>
                      <a:round/>
                      <a:headEnd type="none" w="med" len="med"/>
                      <a:tailEnd type="none" w="med" len="med"/>
                    </a:lnT>
                    <a:lnB w="6350" cap="flat" cmpd="sng" algn="ctr">
                      <a:solidFill>
                        <a:srgbClr val="603837"/>
                      </a:solidFill>
                      <a:prstDash val="solid"/>
                      <a:round/>
                      <a:headEnd type="none" w="med" len="med"/>
                      <a:tailEnd type="none" w="med" len="med"/>
                    </a:lnB>
                    <a:solidFill>
                      <a:srgbClr val="FFFFFF"/>
                    </a:solidFill>
                  </a:tcPr>
                </a:tc>
                <a:tc>
                  <a:txBody>
                    <a:bodyPr/>
                    <a:lstStyle/>
                    <a:p>
                      <a:pPr fontAlgn="t"/>
                      <a:r>
                        <a:rPr lang="en-US" sz="1200" b="0" i="0" kern="1200">
                          <a:solidFill>
                            <a:schemeClr val="tx1"/>
                          </a:solidFill>
                          <a:effectLst/>
                          <a:latin typeface="Calibri" panose="020F0502020204030204" pitchFamily="34" charset="0"/>
                          <a:ea typeface="Calibri" panose="020F0502020204030204" pitchFamily="34" charset="0"/>
                          <a:cs typeface="Calibri" panose="020F0502020204030204" pitchFamily="34" charset="0"/>
                        </a:rPr>
                        <a:t>To be filled after test execution</a:t>
                      </a:r>
                      <a:endParaRPr lang="en-US" sz="1200">
                        <a:effectLst/>
                        <a:latin typeface="Calibri" panose="020F0502020204030204" pitchFamily="34" charset="0"/>
                        <a:ea typeface="Calibri" panose="020F0502020204030204" pitchFamily="34" charset="0"/>
                        <a:cs typeface="Calibri" panose="020F0502020204030204" pitchFamily="34" charset="0"/>
                      </a:endParaRPr>
                    </a:p>
                  </a:txBody>
                  <a:tcPr marL="5494" marR="5494" marT="1099" marB="1099">
                    <a:lnL w="6350" cap="flat" cmpd="sng" algn="ctr">
                      <a:solidFill>
                        <a:srgbClr val="802D37"/>
                      </a:solidFill>
                      <a:prstDash val="solid"/>
                      <a:round/>
                      <a:headEnd type="none" w="med" len="med"/>
                      <a:tailEnd type="none" w="med" len="med"/>
                    </a:lnL>
                    <a:lnR w="6350" cap="flat" cmpd="sng" algn="ctr">
                      <a:solidFill>
                        <a:srgbClr val="202737"/>
                      </a:solidFill>
                      <a:prstDash val="solid"/>
                      <a:round/>
                      <a:headEnd type="none" w="med" len="med"/>
                      <a:tailEnd type="none" w="med" len="med"/>
                    </a:lnR>
                    <a:lnT w="6350" cap="flat" cmpd="sng" algn="ctr">
                      <a:solidFill>
                        <a:srgbClr val="E03337"/>
                      </a:solidFill>
                      <a:prstDash val="solid"/>
                      <a:round/>
                      <a:headEnd type="none" w="med" len="med"/>
                      <a:tailEnd type="none" w="med" len="med"/>
                    </a:lnT>
                    <a:lnB w="6350" cap="flat" cmpd="sng" algn="ctr">
                      <a:solidFill>
                        <a:srgbClr val="A022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Group: Africa All Users, Region: Africa</a:t>
                      </a:r>
                    </a:p>
                  </a:txBody>
                  <a:tcPr marL="5494" marR="5494" marT="1099" marB="1099">
                    <a:lnL w="6350" cap="flat" cmpd="sng" algn="ctr">
                      <a:solidFill>
                        <a:srgbClr val="202737"/>
                      </a:solidFill>
                      <a:prstDash val="solid"/>
                      <a:round/>
                      <a:headEnd type="none" w="med" len="med"/>
                      <a:tailEnd type="none" w="med" len="med"/>
                    </a:lnL>
                    <a:lnR w="6350" cap="flat" cmpd="sng" algn="ctr">
                      <a:solidFill>
                        <a:srgbClr val="A02237"/>
                      </a:solidFill>
                      <a:prstDash val="solid"/>
                      <a:round/>
                      <a:headEnd type="none" w="med" len="med"/>
                      <a:tailEnd type="none" w="med" len="med"/>
                    </a:lnR>
                    <a:lnT w="6350" cap="flat" cmpd="sng" algn="ctr">
                      <a:solidFill>
                        <a:srgbClr val="603837"/>
                      </a:solidFill>
                      <a:prstDash val="solid"/>
                      <a:round/>
                      <a:headEnd type="none" w="med" len="med"/>
                      <a:tailEnd type="none" w="med" len="med"/>
                    </a:lnT>
                    <a:lnB w="6350" cap="flat" cmpd="sng" algn="ctr">
                      <a:solidFill>
                        <a:srgbClr val="A022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Positive Test Case</a:t>
                      </a:r>
                    </a:p>
                  </a:txBody>
                  <a:tcPr marL="5494" marR="5494" marT="1099" marB="1099">
                    <a:lnL w="6350" cap="flat" cmpd="sng" algn="ctr">
                      <a:solidFill>
                        <a:srgbClr val="A02237"/>
                      </a:solidFill>
                      <a:prstDash val="solid"/>
                      <a:round/>
                      <a:headEnd type="none" w="med" len="med"/>
                      <a:tailEnd type="none" w="med" len="med"/>
                    </a:lnL>
                    <a:lnR w="6350" cap="flat" cmpd="sng" algn="ctr">
                      <a:solidFill>
                        <a:srgbClr val="603837"/>
                      </a:solidFill>
                      <a:prstDash val="solid"/>
                      <a:round/>
                      <a:headEnd type="none" w="med" len="med"/>
                      <a:tailEnd type="none" w="med" len="med"/>
                    </a:lnR>
                    <a:lnT w="6350" cap="flat" cmpd="sng" algn="ctr">
                      <a:solidFill>
                        <a:srgbClr val="603237"/>
                      </a:solidFill>
                      <a:prstDash val="solid"/>
                      <a:round/>
                      <a:headEnd type="none" w="med" len="med"/>
                      <a:tailEnd type="none" w="med" len="med"/>
                    </a:lnT>
                    <a:lnB w="6350" cap="flat" cmpd="sng" algn="ctr">
                      <a:solidFill>
                        <a:srgbClr val="603237"/>
                      </a:solidFill>
                      <a:prstDash val="solid"/>
                      <a:round/>
                      <a:headEnd type="none" w="med" len="med"/>
                      <a:tailEnd type="none" w="med" len="med"/>
                    </a:lnB>
                    <a:solidFill>
                      <a:srgbClr val="FFFFFF"/>
                    </a:solidFill>
                  </a:tcPr>
                </a:tc>
                <a:extLst>
                  <a:ext uri="{0D108BD9-81ED-4DB2-BD59-A6C34878D82A}">
                    <a16:rowId xmlns:a16="http://schemas.microsoft.com/office/drawing/2014/main" val="1955259368"/>
                  </a:ext>
                </a:extLst>
              </a:tr>
              <a:tr h="1473771">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C003</a:t>
                      </a:r>
                    </a:p>
                  </a:txBody>
                  <a:tcPr marL="5494" marR="5494" marT="1099" marB="1099">
                    <a:lnL w="6350" cap="flat" cmpd="sng" algn="ctr">
                      <a:solidFill>
                        <a:srgbClr val="603237"/>
                      </a:solidFill>
                      <a:prstDash val="solid"/>
                      <a:round/>
                      <a:headEnd type="none" w="med" len="med"/>
                      <a:tailEnd type="none" w="med" len="med"/>
                    </a:lnL>
                    <a:lnR w="6350" cap="flat" cmpd="sng" algn="ctr">
                      <a:solidFill>
                        <a:srgbClr val="C03237"/>
                      </a:solidFill>
                      <a:prstDash val="solid"/>
                      <a:round/>
                      <a:headEnd type="none" w="med" len="med"/>
                      <a:tailEnd type="none" w="med" len="med"/>
                    </a:lnR>
                    <a:lnT w="6350" cap="flat" cmpd="sng" algn="ctr">
                      <a:solidFill>
                        <a:srgbClr val="603837"/>
                      </a:solidFill>
                      <a:prstDash val="solid"/>
                      <a:round/>
                      <a:headEnd type="none" w="med" len="med"/>
                      <a:tailEnd type="none" w="med" len="med"/>
                    </a:lnT>
                    <a:lnB w="6350" cap="flat" cmpd="sng" algn="ctr">
                      <a:solidFill>
                        <a:srgbClr val="C032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Verify unaffected opportunities outside Africa</a:t>
                      </a:r>
                    </a:p>
                  </a:txBody>
                  <a:tcPr marL="5494" marR="5494" marT="1099" marB="1099">
                    <a:lnL w="6350" cap="flat" cmpd="sng" algn="ctr">
                      <a:solidFill>
                        <a:srgbClr val="C03237"/>
                      </a:solidFill>
                      <a:prstDash val="solid"/>
                      <a:round/>
                      <a:headEnd type="none" w="med" len="med"/>
                      <a:tailEnd type="none" w="med" len="med"/>
                    </a:lnL>
                    <a:lnR w="6350" cap="flat" cmpd="sng" algn="ctr">
                      <a:solidFill>
                        <a:srgbClr val="A02537"/>
                      </a:solidFill>
                      <a:prstDash val="solid"/>
                      <a:round/>
                      <a:headEnd type="none" w="med" len="med"/>
                      <a:tailEnd type="none" w="med" len="med"/>
                    </a:lnR>
                    <a:lnT w="6350" cap="flat" cmpd="sng" algn="ctr">
                      <a:solidFill>
                        <a:srgbClr val="603837"/>
                      </a:solidFill>
                      <a:prstDash val="solid"/>
                      <a:round/>
                      <a:headEnd type="none" w="med" len="med"/>
                      <a:tailEnd type="none" w="med" len="med"/>
                    </a:lnT>
                    <a:lnB w="6350" cap="flat" cmpd="sng" algn="ctr">
                      <a:solidFill>
                        <a:srgbClr val="6029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1. Navigate to App -&gt; Accounts -&gt; Sales opportunities. 2. Select an existing opportunity with region not equals Africa.</a:t>
                      </a:r>
                    </a:p>
                  </a:txBody>
                  <a:tcPr marL="5494" marR="5494" marT="1099" marB="1099">
                    <a:lnL w="6350" cap="flat" cmpd="sng" algn="ctr">
                      <a:solidFill>
                        <a:srgbClr val="A02537"/>
                      </a:solidFill>
                      <a:prstDash val="solid"/>
                      <a:round/>
                      <a:headEnd type="none" w="med" len="med"/>
                      <a:tailEnd type="none" w="med" len="med"/>
                    </a:lnL>
                    <a:lnR w="6350" cap="flat" cmpd="sng" algn="ctr">
                      <a:solidFill>
                        <a:srgbClr val="C03237"/>
                      </a:solidFill>
                      <a:prstDash val="solid"/>
                      <a:round/>
                      <a:headEnd type="none" w="med" len="med"/>
                      <a:tailEnd type="none" w="med" len="med"/>
                    </a:lnR>
                    <a:lnT w="6350" cap="flat" cmpd="sng" algn="ctr">
                      <a:solidFill>
                        <a:srgbClr val="603237"/>
                      </a:solidFill>
                      <a:prstDash val="solid"/>
                      <a:round/>
                      <a:headEnd type="none" w="med" len="med"/>
                      <a:tailEnd type="none" w="med" len="med"/>
                    </a:lnT>
                    <a:lnB w="6350" cap="flat" cmpd="sng" algn="ctr">
                      <a:solidFill>
                        <a:srgbClr val="6026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Opportunities outside the Africa region should not be affected by this sharing rule.</a:t>
                      </a:r>
                    </a:p>
                  </a:txBody>
                  <a:tcPr marL="5494" marR="5494" marT="1099" marB="1099">
                    <a:lnL w="6350" cap="flat" cmpd="sng" algn="ctr">
                      <a:solidFill>
                        <a:srgbClr val="C03237"/>
                      </a:solidFill>
                      <a:prstDash val="solid"/>
                      <a:round/>
                      <a:headEnd type="none" w="med" len="med"/>
                      <a:tailEnd type="none" w="med" len="med"/>
                    </a:lnL>
                    <a:lnR w="6350" cap="flat" cmpd="sng" algn="ctr">
                      <a:solidFill>
                        <a:srgbClr val="C03237"/>
                      </a:solidFill>
                      <a:prstDash val="solid"/>
                      <a:round/>
                      <a:headEnd type="none" w="med" len="med"/>
                      <a:tailEnd type="none" w="med" len="med"/>
                    </a:lnR>
                    <a:lnT w="6350" cap="flat" cmpd="sng" algn="ctr">
                      <a:solidFill>
                        <a:srgbClr val="202737"/>
                      </a:solidFill>
                      <a:prstDash val="solid"/>
                      <a:round/>
                      <a:headEnd type="none" w="med" len="med"/>
                      <a:tailEnd type="none" w="med" len="med"/>
                    </a:lnT>
                    <a:lnB w="6350" cap="flat" cmpd="sng" algn="ctr">
                      <a:solidFill>
                        <a:srgbClr val="C02337"/>
                      </a:solidFill>
                      <a:prstDash val="solid"/>
                      <a:round/>
                      <a:headEnd type="none" w="med" len="med"/>
                      <a:tailEnd type="none" w="med" len="med"/>
                    </a:lnB>
                    <a:solidFill>
                      <a:srgbClr val="FFFFFF"/>
                    </a:solidFill>
                  </a:tcPr>
                </a:tc>
                <a:tc>
                  <a:txBody>
                    <a:bodyPr/>
                    <a:lstStyle/>
                    <a:p>
                      <a:pPr fontAlgn="t"/>
                      <a:r>
                        <a:rPr lang="en-US" sz="1200" b="0" i="0" kern="1200">
                          <a:solidFill>
                            <a:schemeClr val="tx1"/>
                          </a:solidFill>
                          <a:effectLst/>
                          <a:latin typeface="Calibri" panose="020F0502020204030204" pitchFamily="34" charset="0"/>
                          <a:ea typeface="Calibri" panose="020F0502020204030204" pitchFamily="34" charset="0"/>
                          <a:cs typeface="Calibri" panose="020F0502020204030204" pitchFamily="34" charset="0"/>
                        </a:rPr>
                        <a:t>To be filled after test execution</a:t>
                      </a:r>
                      <a:endParaRPr lang="en-US" sz="1200">
                        <a:effectLst/>
                        <a:latin typeface="Calibri" panose="020F0502020204030204" pitchFamily="34" charset="0"/>
                        <a:ea typeface="Calibri" panose="020F0502020204030204" pitchFamily="34" charset="0"/>
                        <a:cs typeface="Calibri" panose="020F0502020204030204" pitchFamily="34" charset="0"/>
                      </a:endParaRPr>
                    </a:p>
                  </a:txBody>
                  <a:tcPr marL="5494" marR="5494" marT="1099" marB="1099">
                    <a:lnL w="6350" cap="flat" cmpd="sng" algn="ctr">
                      <a:solidFill>
                        <a:srgbClr val="C03237"/>
                      </a:solidFill>
                      <a:prstDash val="solid"/>
                      <a:round/>
                      <a:headEnd type="none" w="med" len="med"/>
                      <a:tailEnd type="none" w="med" len="med"/>
                    </a:lnL>
                    <a:lnR w="6350" cap="flat" cmpd="sng" algn="ctr">
                      <a:solidFill>
                        <a:srgbClr val="603837"/>
                      </a:solidFill>
                      <a:prstDash val="solid"/>
                      <a:round/>
                      <a:headEnd type="none" w="med" len="med"/>
                      <a:tailEnd type="none" w="med" len="med"/>
                    </a:lnR>
                    <a:lnT w="6350" cap="flat" cmpd="sng" algn="ctr">
                      <a:solidFill>
                        <a:srgbClr val="603837"/>
                      </a:solidFill>
                      <a:prstDash val="solid"/>
                      <a:round/>
                      <a:headEnd type="none" w="med" len="med"/>
                      <a:tailEnd type="none" w="med" len="med"/>
                    </a:lnT>
                    <a:lnB w="6350" cap="flat" cmpd="sng" algn="ctr">
                      <a:solidFill>
                        <a:srgbClr val="603237"/>
                      </a:solidFill>
                      <a:prstDash val="solid"/>
                      <a:round/>
                      <a:headEnd type="none" w="med" len="med"/>
                      <a:tailEnd type="none" w="med" len="med"/>
                    </a:lnB>
                    <a:solidFill>
                      <a:srgbClr val="FFFFFF"/>
                    </a:solidFill>
                  </a:tcPr>
                </a:tc>
                <a:tc>
                  <a:txBody>
                    <a:bodyPr/>
                    <a:lstStyle/>
                    <a:p>
                      <a:pPr fontAlgn="t"/>
                      <a:r>
                        <a:rPr lang="en-US" sz="1200" b="0" i="0" kern="1200">
                          <a:solidFill>
                            <a:schemeClr val="tx1"/>
                          </a:solidFill>
                          <a:effectLst/>
                          <a:latin typeface="Calibri" panose="020F0502020204030204" pitchFamily="34" charset="0"/>
                          <a:ea typeface="Calibri" panose="020F0502020204030204" pitchFamily="34" charset="0"/>
                          <a:cs typeface="Calibri" panose="020F0502020204030204" pitchFamily="34" charset="0"/>
                        </a:rPr>
                        <a:t>To be filled after test execution</a:t>
                      </a:r>
                      <a:endParaRPr lang="en-US" sz="1200">
                        <a:effectLst/>
                        <a:latin typeface="Calibri" panose="020F0502020204030204" pitchFamily="34" charset="0"/>
                        <a:ea typeface="Calibri" panose="020F0502020204030204" pitchFamily="34" charset="0"/>
                        <a:cs typeface="Calibri" panose="020F0502020204030204" pitchFamily="34" charset="0"/>
                      </a:endParaRPr>
                    </a:p>
                  </a:txBody>
                  <a:tcPr marL="5494" marR="5494" marT="1099" marB="1099">
                    <a:lnL w="6350" cap="flat" cmpd="sng" algn="ctr">
                      <a:solidFill>
                        <a:srgbClr val="603837"/>
                      </a:solidFill>
                      <a:prstDash val="solid"/>
                      <a:round/>
                      <a:headEnd type="none" w="med" len="med"/>
                      <a:tailEnd type="none" w="med" len="med"/>
                    </a:lnL>
                    <a:lnR w="6350" cap="flat" cmpd="sng" algn="ctr">
                      <a:solidFill>
                        <a:srgbClr val="602937"/>
                      </a:solidFill>
                      <a:prstDash val="solid"/>
                      <a:round/>
                      <a:headEnd type="none" w="med" len="med"/>
                      <a:tailEnd type="none" w="med" len="med"/>
                    </a:lnR>
                    <a:lnT w="6350" cap="flat" cmpd="sng" algn="ctr">
                      <a:solidFill>
                        <a:srgbClr val="A02237"/>
                      </a:solidFill>
                      <a:prstDash val="solid"/>
                      <a:round/>
                      <a:headEnd type="none" w="med" len="med"/>
                      <a:tailEnd type="none" w="med" len="med"/>
                    </a:lnT>
                    <a:lnB w="6350" cap="flat" cmpd="sng" algn="ctr">
                      <a:solidFill>
                        <a:srgbClr val="6026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Group: Africa All Users, Region: [Not Africa]</a:t>
                      </a:r>
                    </a:p>
                  </a:txBody>
                  <a:tcPr marL="5494" marR="5494" marT="1099" marB="1099">
                    <a:lnL w="6350" cap="flat" cmpd="sng" algn="ctr">
                      <a:solidFill>
                        <a:srgbClr val="602937"/>
                      </a:solidFill>
                      <a:prstDash val="solid"/>
                      <a:round/>
                      <a:headEnd type="none" w="med" len="med"/>
                      <a:tailEnd type="none" w="med" len="med"/>
                    </a:lnL>
                    <a:lnR w="6350" cap="flat" cmpd="sng" algn="ctr">
                      <a:solidFill>
                        <a:srgbClr val="A02B37"/>
                      </a:solidFill>
                      <a:prstDash val="solid"/>
                      <a:round/>
                      <a:headEnd type="none" w="med" len="med"/>
                      <a:tailEnd type="none" w="med" len="med"/>
                    </a:lnR>
                    <a:lnT w="6350" cap="flat" cmpd="sng" algn="ctr">
                      <a:solidFill>
                        <a:srgbClr val="A02237"/>
                      </a:solidFill>
                      <a:prstDash val="solid"/>
                      <a:round/>
                      <a:headEnd type="none" w="med" len="med"/>
                      <a:tailEnd type="none" w="med" len="med"/>
                    </a:lnT>
                    <a:lnB w="6350" cap="flat" cmpd="sng" algn="ctr">
                      <a:solidFill>
                        <a:srgbClr val="603237"/>
                      </a:solidFill>
                      <a:prstDash val="solid"/>
                      <a:round/>
                      <a:headEnd type="none" w="med" len="med"/>
                      <a:tailEnd type="none" w="med" len="med"/>
                    </a:lnB>
                    <a:solidFill>
                      <a:srgbClr val="FFFFFF"/>
                    </a:solid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Negative Test Case</a:t>
                      </a:r>
                    </a:p>
                  </a:txBody>
                  <a:tcPr marL="5494" marR="5494" marT="1099" marB="1099">
                    <a:lnL w="6350" cap="flat" cmpd="sng" algn="ctr">
                      <a:solidFill>
                        <a:srgbClr val="A02B37"/>
                      </a:solidFill>
                      <a:prstDash val="solid"/>
                      <a:round/>
                      <a:headEnd type="none" w="med" len="med"/>
                      <a:tailEnd type="none" w="med" len="med"/>
                    </a:lnL>
                    <a:lnR w="6350" cap="flat" cmpd="sng" algn="ctr">
                      <a:solidFill>
                        <a:srgbClr val="602937"/>
                      </a:solidFill>
                      <a:prstDash val="solid"/>
                      <a:round/>
                      <a:headEnd type="none" w="med" len="med"/>
                      <a:tailEnd type="none" w="med" len="med"/>
                    </a:lnR>
                    <a:lnT w="6350" cap="flat" cmpd="sng" algn="ctr">
                      <a:solidFill>
                        <a:srgbClr val="603237"/>
                      </a:solidFill>
                      <a:prstDash val="solid"/>
                      <a:round/>
                      <a:headEnd type="none" w="med" len="med"/>
                      <a:tailEnd type="none" w="med" len="med"/>
                    </a:lnT>
                    <a:lnB w="6350" cap="flat" cmpd="sng" algn="ctr">
                      <a:solidFill>
                        <a:srgbClr val="603837"/>
                      </a:solidFill>
                      <a:prstDash val="solid"/>
                      <a:round/>
                      <a:headEnd type="none" w="med" len="med"/>
                      <a:tailEnd type="none" w="med" len="med"/>
                    </a:lnB>
                    <a:solidFill>
                      <a:srgbClr val="FFFFFF"/>
                    </a:solidFill>
                  </a:tcPr>
                </a:tc>
                <a:extLst>
                  <a:ext uri="{0D108BD9-81ED-4DB2-BD59-A6C34878D82A}">
                    <a16:rowId xmlns:a16="http://schemas.microsoft.com/office/drawing/2014/main" val="2344818393"/>
                  </a:ext>
                </a:extLst>
              </a:tr>
            </a:tbl>
          </a:graphicData>
        </a:graphic>
      </p:graphicFrame>
      <p:pic>
        <p:nvPicPr>
          <p:cNvPr id="5" name="Picture 4">
            <a:extLst>
              <a:ext uri="{FF2B5EF4-FFF2-40B4-BE49-F238E27FC236}">
                <a16:creationId xmlns:a16="http://schemas.microsoft.com/office/drawing/2014/main" id="{0D914927-05E2-00A1-3079-95A76F2EED2A}"/>
              </a:ext>
            </a:extLst>
          </p:cNvPr>
          <p:cNvPicPr>
            <a:picLocks noChangeAspect="1"/>
          </p:cNvPicPr>
          <p:nvPr/>
        </p:nvPicPr>
        <p:blipFill>
          <a:blip r:embed="rId2"/>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1927861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21A76-CA51-FC71-9C68-63656954A60B}"/>
              </a:ext>
            </a:extLst>
          </p:cNvPr>
          <p:cNvSpPr>
            <a:spLocks noGrp="1"/>
          </p:cNvSpPr>
          <p:nvPr>
            <p:ph type="title"/>
          </p:nvPr>
        </p:nvSpPr>
        <p:spPr>
          <a:xfrm>
            <a:off x="3908612" y="50185"/>
            <a:ext cx="5764306" cy="454262"/>
          </a:xfrm>
        </p:spPr>
        <p:txBody>
          <a:bodyPr>
            <a:normAutofit fontScale="90000"/>
          </a:bodyPr>
          <a:lstStyle/>
          <a:p>
            <a:br>
              <a:rPr lang="en-US" sz="1800"/>
            </a:br>
            <a:r>
              <a:rPr lang="en-US" sz="1800"/>
              <a:t>Test case design for WORKFLOW - prompt</a:t>
            </a:r>
            <a:br>
              <a:rPr lang="en-US" sz="1200" b="0" i="0">
                <a:solidFill>
                  <a:srgbClr val="1E1E1E"/>
                </a:solidFill>
                <a:effectLst/>
                <a:latin typeface="Salesforce Sans"/>
              </a:rPr>
            </a:br>
            <a:endParaRPr lang="en-US" sz="1800"/>
          </a:p>
        </p:txBody>
      </p:sp>
      <p:sp>
        <p:nvSpPr>
          <p:cNvPr id="3" name="TextBox 2">
            <a:extLst>
              <a:ext uri="{FF2B5EF4-FFF2-40B4-BE49-F238E27FC236}">
                <a16:creationId xmlns:a16="http://schemas.microsoft.com/office/drawing/2014/main" id="{4CA8BECF-5569-3A71-11D9-51884AAC6D5D}"/>
              </a:ext>
            </a:extLst>
          </p:cNvPr>
          <p:cNvSpPr txBox="1"/>
          <p:nvPr/>
        </p:nvSpPr>
        <p:spPr>
          <a:xfrm>
            <a:off x="1001197" y="788907"/>
            <a:ext cx="5480883" cy="452431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ompt : </a:t>
            </a: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an you please write the Software testing test cases for below user story with negative and positive cases in Excel format with columns Test Case ID, Test Script, Test Steps, Expected Result, Actual Result, Pass/Fail, Test Data and Comme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1. Given the user selects Sales &amp; Lightning App &gt; Case &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hen the user Clicks on New&gt; select Machine/Component Fail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Sales Organization of Account is PCA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hen the case is sav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en an email should be sent out to Kamyar Hodjat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From Email Address - No-Reply Komatsu CRM" salesforce-nagm@global.komats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case is created</a:t>
            </a: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pic>
        <p:nvPicPr>
          <p:cNvPr id="10" name="Picture 9">
            <a:extLst>
              <a:ext uri="{FF2B5EF4-FFF2-40B4-BE49-F238E27FC236}">
                <a16:creationId xmlns:a16="http://schemas.microsoft.com/office/drawing/2014/main" id="{285CE6CA-EEE9-09AC-803E-E597BFE27701}"/>
              </a:ext>
            </a:extLst>
          </p:cNvPr>
          <p:cNvPicPr>
            <a:picLocks noChangeAspect="1"/>
          </p:cNvPicPr>
          <p:nvPr/>
        </p:nvPicPr>
        <p:blipFill>
          <a:blip r:embed="rId2"/>
          <a:stretch>
            <a:fillRect/>
          </a:stretch>
        </p:blipFill>
        <p:spPr>
          <a:xfrm>
            <a:off x="6553200" y="1686560"/>
            <a:ext cx="5486400" cy="2712720"/>
          </a:xfrm>
          <a:prstGeom prst="rect">
            <a:avLst/>
          </a:prstGeom>
        </p:spPr>
      </p:pic>
      <p:pic>
        <p:nvPicPr>
          <p:cNvPr id="4" name="Picture 3">
            <a:extLst>
              <a:ext uri="{FF2B5EF4-FFF2-40B4-BE49-F238E27FC236}">
                <a16:creationId xmlns:a16="http://schemas.microsoft.com/office/drawing/2014/main" id="{3060DEA5-7A2A-D7A7-15F5-5E5BADFF85FB}"/>
              </a:ext>
            </a:extLst>
          </p:cNvPr>
          <p:cNvPicPr>
            <a:picLocks noChangeAspect="1"/>
          </p:cNvPicPr>
          <p:nvPr/>
        </p:nvPicPr>
        <p:blipFill>
          <a:blip r:embed="rId3"/>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17956067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21A76-CA51-FC71-9C68-63656954A60B}"/>
              </a:ext>
            </a:extLst>
          </p:cNvPr>
          <p:cNvSpPr>
            <a:spLocks noGrp="1"/>
          </p:cNvSpPr>
          <p:nvPr>
            <p:ph type="title"/>
          </p:nvPr>
        </p:nvSpPr>
        <p:spPr>
          <a:xfrm>
            <a:off x="2682240" y="50185"/>
            <a:ext cx="6990678" cy="454262"/>
          </a:xfrm>
        </p:spPr>
        <p:txBody>
          <a:bodyPr>
            <a:normAutofit fontScale="90000"/>
          </a:bodyPr>
          <a:lstStyle/>
          <a:p>
            <a:br>
              <a:rPr lang="en-US" sz="1800"/>
            </a:br>
            <a:r>
              <a:rPr lang="en-US" sz="1800"/>
              <a:t>Test case design for WORKFLOW – Prompt results</a:t>
            </a:r>
            <a:br>
              <a:rPr lang="en-US" sz="1200" b="0" i="0">
                <a:solidFill>
                  <a:srgbClr val="1E1E1E"/>
                </a:solidFill>
                <a:effectLst/>
                <a:latin typeface="Salesforce Sans"/>
              </a:rPr>
            </a:br>
            <a:endParaRPr lang="en-US" sz="1800"/>
          </a:p>
        </p:txBody>
      </p:sp>
      <p:sp>
        <p:nvSpPr>
          <p:cNvPr id="3" name="TextBox 2">
            <a:extLst>
              <a:ext uri="{FF2B5EF4-FFF2-40B4-BE49-F238E27FC236}">
                <a16:creationId xmlns:a16="http://schemas.microsoft.com/office/drawing/2014/main" id="{4CA8BECF-5569-3A71-11D9-51884AAC6D5D}"/>
              </a:ext>
            </a:extLst>
          </p:cNvPr>
          <p:cNvSpPr txBox="1"/>
          <p:nvPr/>
        </p:nvSpPr>
        <p:spPr>
          <a:xfrm>
            <a:off x="1026157" y="504447"/>
            <a:ext cx="10639659" cy="657681"/>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0"/>
              </a:spcAft>
              <a:buClrTx/>
              <a:buSzTx/>
              <a:buFont typeface="Wingdings" panose="05000000000000000000" pitchFamily="2" charset="2"/>
              <a:buChar char="Ø"/>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ults :</a:t>
            </a: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6" name="Table 5">
            <a:extLst>
              <a:ext uri="{FF2B5EF4-FFF2-40B4-BE49-F238E27FC236}">
                <a16:creationId xmlns:a16="http://schemas.microsoft.com/office/drawing/2014/main" id="{CABD6EF3-0B1A-D919-3F0C-109F79546883}"/>
              </a:ext>
            </a:extLst>
          </p:cNvPr>
          <p:cNvGraphicFramePr>
            <a:graphicFrameLocks noGrp="1"/>
          </p:cNvGraphicFramePr>
          <p:nvPr/>
        </p:nvGraphicFramePr>
        <p:xfrm>
          <a:off x="1198878" y="958709"/>
          <a:ext cx="10294216" cy="5536416"/>
        </p:xfrm>
        <a:graphic>
          <a:graphicData uri="http://schemas.openxmlformats.org/drawingml/2006/table">
            <a:tbl>
              <a:tblPr/>
              <a:tblGrid>
                <a:gridCol w="1286777">
                  <a:extLst>
                    <a:ext uri="{9D8B030D-6E8A-4147-A177-3AD203B41FA5}">
                      <a16:colId xmlns:a16="http://schemas.microsoft.com/office/drawing/2014/main" val="2814120423"/>
                    </a:ext>
                  </a:extLst>
                </a:gridCol>
                <a:gridCol w="1286777">
                  <a:extLst>
                    <a:ext uri="{9D8B030D-6E8A-4147-A177-3AD203B41FA5}">
                      <a16:colId xmlns:a16="http://schemas.microsoft.com/office/drawing/2014/main" val="4233944840"/>
                    </a:ext>
                  </a:extLst>
                </a:gridCol>
                <a:gridCol w="1286777">
                  <a:extLst>
                    <a:ext uri="{9D8B030D-6E8A-4147-A177-3AD203B41FA5}">
                      <a16:colId xmlns:a16="http://schemas.microsoft.com/office/drawing/2014/main" val="1773158789"/>
                    </a:ext>
                  </a:extLst>
                </a:gridCol>
                <a:gridCol w="1286777">
                  <a:extLst>
                    <a:ext uri="{9D8B030D-6E8A-4147-A177-3AD203B41FA5}">
                      <a16:colId xmlns:a16="http://schemas.microsoft.com/office/drawing/2014/main" val="2501724102"/>
                    </a:ext>
                  </a:extLst>
                </a:gridCol>
                <a:gridCol w="1286777">
                  <a:extLst>
                    <a:ext uri="{9D8B030D-6E8A-4147-A177-3AD203B41FA5}">
                      <a16:colId xmlns:a16="http://schemas.microsoft.com/office/drawing/2014/main" val="607307797"/>
                    </a:ext>
                  </a:extLst>
                </a:gridCol>
                <a:gridCol w="1286777">
                  <a:extLst>
                    <a:ext uri="{9D8B030D-6E8A-4147-A177-3AD203B41FA5}">
                      <a16:colId xmlns:a16="http://schemas.microsoft.com/office/drawing/2014/main" val="1451956855"/>
                    </a:ext>
                  </a:extLst>
                </a:gridCol>
                <a:gridCol w="1286777">
                  <a:extLst>
                    <a:ext uri="{9D8B030D-6E8A-4147-A177-3AD203B41FA5}">
                      <a16:colId xmlns:a16="http://schemas.microsoft.com/office/drawing/2014/main" val="531720259"/>
                    </a:ext>
                  </a:extLst>
                </a:gridCol>
                <a:gridCol w="1286777">
                  <a:extLst>
                    <a:ext uri="{9D8B030D-6E8A-4147-A177-3AD203B41FA5}">
                      <a16:colId xmlns:a16="http://schemas.microsoft.com/office/drawing/2014/main" val="350749948"/>
                    </a:ext>
                  </a:extLst>
                </a:gridCol>
              </a:tblGrid>
              <a:tr h="218094">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Case ID</a:t>
                      </a:r>
                    </a:p>
                  </a:txBody>
                  <a:tcPr marL="12336" marR="12336" marT="2467" marB="2467">
                    <a:lnL w="6350" cap="flat" cmpd="sng" algn="ctr">
                      <a:solidFill>
                        <a:srgbClr val="702917"/>
                      </a:solidFill>
                      <a:prstDash val="solid"/>
                      <a:round/>
                      <a:headEnd type="none" w="med" len="med"/>
                      <a:tailEnd type="none" w="med" len="med"/>
                    </a:lnL>
                    <a:lnR w="6350" cap="flat" cmpd="sng" algn="ctr">
                      <a:solidFill>
                        <a:srgbClr val="702917"/>
                      </a:solidFill>
                      <a:prstDash val="solid"/>
                      <a:round/>
                      <a:headEnd type="none" w="med" len="med"/>
                      <a:tailEnd type="none" w="med" len="med"/>
                    </a:lnR>
                    <a:lnT w="6350" cap="flat" cmpd="sng" algn="ctr">
                      <a:solidFill>
                        <a:srgbClr val="503717"/>
                      </a:solidFill>
                      <a:prstDash val="solid"/>
                      <a:round/>
                      <a:headEnd type="none" w="med" len="med"/>
                      <a:tailEnd type="none" w="med" len="med"/>
                    </a:lnT>
                    <a:lnB w="6350" cap="flat" cmpd="sng" algn="ctr">
                      <a:solidFill>
                        <a:srgbClr val="10291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Script</a:t>
                      </a:r>
                    </a:p>
                  </a:txBody>
                  <a:tcPr marL="12336" marR="12336" marT="2467" marB="2467">
                    <a:lnL w="6350" cap="flat" cmpd="sng" algn="ctr">
                      <a:solidFill>
                        <a:srgbClr val="702917"/>
                      </a:solidFill>
                      <a:prstDash val="solid"/>
                      <a:round/>
                      <a:headEnd type="none" w="med" len="med"/>
                      <a:tailEnd type="none" w="med" len="med"/>
                    </a:lnL>
                    <a:lnR w="6350" cap="flat" cmpd="sng" algn="ctr">
                      <a:solidFill>
                        <a:srgbClr val="3036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10291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Steps</a:t>
                      </a:r>
                    </a:p>
                  </a:txBody>
                  <a:tcPr marL="12336" marR="12336" marT="2467" marB="2467">
                    <a:lnL w="6350" cap="flat" cmpd="sng" algn="ctr">
                      <a:solidFill>
                        <a:srgbClr val="303617"/>
                      </a:solidFill>
                      <a:prstDash val="solid"/>
                      <a:round/>
                      <a:headEnd type="none" w="med" len="med"/>
                      <a:tailEnd type="none" w="med" len="med"/>
                    </a:lnL>
                    <a:lnR w="6350" cap="flat" cmpd="sng" algn="ctr">
                      <a:solidFill>
                        <a:srgbClr val="7029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10321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Expected Result</a:t>
                      </a:r>
                    </a:p>
                  </a:txBody>
                  <a:tcPr marL="12336" marR="12336" marT="2467" marB="2467">
                    <a:lnL w="6350" cap="flat" cmpd="sng" algn="ctr">
                      <a:solidFill>
                        <a:srgbClr val="702917"/>
                      </a:solidFill>
                      <a:prstDash val="solid"/>
                      <a:round/>
                      <a:headEnd type="none" w="med" len="med"/>
                      <a:tailEnd type="none" w="med" len="med"/>
                    </a:lnL>
                    <a:lnR w="6350" cap="flat" cmpd="sng" algn="ctr">
                      <a:solidFill>
                        <a:srgbClr val="903617"/>
                      </a:solidFill>
                      <a:prstDash val="solid"/>
                      <a:round/>
                      <a:headEnd type="none" w="med" len="med"/>
                      <a:tailEnd type="none" w="med" len="med"/>
                    </a:lnR>
                    <a:lnT w="6350" cap="flat" cmpd="sng" algn="ctr">
                      <a:solidFill>
                        <a:srgbClr val="102C17"/>
                      </a:solidFill>
                      <a:prstDash val="solid"/>
                      <a:round/>
                      <a:headEnd type="none" w="med" len="med"/>
                      <a:tailEnd type="none" w="med" len="med"/>
                    </a:lnT>
                    <a:lnB w="6350" cap="flat" cmpd="sng" algn="ctr">
                      <a:solidFill>
                        <a:srgbClr val="B02E1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Actual Result</a:t>
                      </a:r>
                    </a:p>
                  </a:txBody>
                  <a:tcPr marL="12336" marR="12336" marT="2467" marB="2467">
                    <a:lnL w="6350" cap="flat" cmpd="sng" algn="ctr">
                      <a:solidFill>
                        <a:srgbClr val="903617"/>
                      </a:solidFill>
                      <a:prstDash val="solid"/>
                      <a:round/>
                      <a:headEnd type="none" w="med" len="med"/>
                      <a:tailEnd type="none" w="med" len="med"/>
                    </a:lnL>
                    <a:lnR w="6350" cap="flat" cmpd="sng" algn="ctr">
                      <a:solidFill>
                        <a:srgbClr val="9036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B02E1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Pass/Fail</a:t>
                      </a:r>
                    </a:p>
                  </a:txBody>
                  <a:tcPr marL="12336" marR="12336" marT="2467" marB="2467">
                    <a:lnL w="6350" cap="flat" cmpd="sng" algn="ctr">
                      <a:solidFill>
                        <a:srgbClr val="903617"/>
                      </a:solidFill>
                      <a:prstDash val="solid"/>
                      <a:round/>
                      <a:headEnd type="none" w="med" len="med"/>
                      <a:tailEnd type="none" w="med" len="med"/>
                    </a:lnL>
                    <a:lnR w="6350" cap="flat" cmpd="sng" algn="ctr">
                      <a:solidFill>
                        <a:srgbClr val="303617"/>
                      </a:solidFill>
                      <a:prstDash val="solid"/>
                      <a:round/>
                      <a:headEnd type="none" w="med" len="med"/>
                      <a:tailEnd type="none" w="med" len="med"/>
                    </a:lnR>
                    <a:lnT w="6350" cap="flat" cmpd="sng" algn="ctr">
                      <a:solidFill>
                        <a:srgbClr val="303617"/>
                      </a:solidFill>
                      <a:prstDash val="solid"/>
                      <a:round/>
                      <a:headEnd type="none" w="med" len="med"/>
                      <a:tailEnd type="none" w="med" len="med"/>
                    </a:lnT>
                    <a:lnB w="6350" cap="flat" cmpd="sng" algn="ctr">
                      <a:solidFill>
                        <a:srgbClr val="10381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Test Data</a:t>
                      </a:r>
                    </a:p>
                  </a:txBody>
                  <a:tcPr marL="12336" marR="12336" marT="2467" marB="2467">
                    <a:lnL w="6350" cap="flat" cmpd="sng" algn="ctr">
                      <a:solidFill>
                        <a:srgbClr val="303617"/>
                      </a:solidFill>
                      <a:prstDash val="solid"/>
                      <a:round/>
                      <a:headEnd type="none" w="med" len="med"/>
                      <a:tailEnd type="none" w="med" len="med"/>
                    </a:lnL>
                    <a:lnR w="6350" cap="flat" cmpd="sng" algn="ctr">
                      <a:solidFill>
                        <a:srgbClr val="B03717"/>
                      </a:solidFill>
                      <a:prstDash val="solid"/>
                      <a:round/>
                      <a:headEnd type="none" w="med" len="med"/>
                      <a:tailEnd type="none" w="med" len="med"/>
                    </a:lnR>
                    <a:lnT w="6350" cap="flat" cmpd="sng" algn="ctr">
                      <a:solidFill>
                        <a:srgbClr val="103217"/>
                      </a:solidFill>
                      <a:prstDash val="solid"/>
                      <a:round/>
                      <a:headEnd type="none" w="med" len="med"/>
                      <a:tailEnd type="none" w="med" len="med"/>
                    </a:lnT>
                    <a:lnB w="6350" cap="flat" cmpd="sng" algn="ctr">
                      <a:solidFill>
                        <a:srgbClr val="103217"/>
                      </a:solidFill>
                      <a:prstDash val="solid"/>
                      <a:round/>
                      <a:headEnd type="none" w="med" len="med"/>
                      <a:tailEnd type="none" w="med" len="med"/>
                    </a:lnB>
                    <a:solidFill>
                      <a:schemeClr val="accent5">
                        <a:lumMod val="40000"/>
                        <a:lumOff val="60000"/>
                      </a:schemeClr>
                    </a:solidFill>
                  </a:tcPr>
                </a:tc>
                <a:tc>
                  <a:txBody>
                    <a:bodyPr/>
                    <a:lstStyle/>
                    <a:p>
                      <a:pPr algn="l" fontAlgn="t"/>
                      <a:r>
                        <a:rPr lang="en-US" sz="1200" b="1">
                          <a:effectLst/>
                          <a:latin typeface="Calibri" panose="020F0502020204030204" pitchFamily="34" charset="0"/>
                          <a:ea typeface="Calibri" panose="020F0502020204030204" pitchFamily="34" charset="0"/>
                          <a:cs typeface="Calibri" panose="020F0502020204030204" pitchFamily="34" charset="0"/>
                        </a:rPr>
                        <a:t>Comments</a:t>
                      </a:r>
                    </a:p>
                  </a:txBody>
                  <a:tcPr marL="12336" marR="12336" marT="2467" marB="2467">
                    <a:lnL w="6350" cap="flat" cmpd="sng" algn="ctr">
                      <a:solidFill>
                        <a:srgbClr val="B03717"/>
                      </a:solidFill>
                      <a:prstDash val="solid"/>
                      <a:round/>
                      <a:headEnd type="none" w="med" len="med"/>
                      <a:tailEnd type="none" w="med" len="med"/>
                    </a:lnL>
                    <a:lnR w="6350" cap="flat" cmpd="sng" algn="ctr">
                      <a:solidFill>
                        <a:srgbClr val="102917"/>
                      </a:solidFill>
                      <a:prstDash val="solid"/>
                      <a:round/>
                      <a:headEnd type="none" w="med" len="med"/>
                      <a:tailEnd type="none" w="med" len="med"/>
                    </a:lnR>
                    <a:lnT w="6350" cap="flat" cmpd="sng" algn="ctr">
                      <a:solidFill>
                        <a:srgbClr val="B02E17"/>
                      </a:solidFill>
                      <a:prstDash val="solid"/>
                      <a:round/>
                      <a:headEnd type="none" w="med" len="med"/>
                      <a:tailEnd type="none" w="med" len="med"/>
                    </a:lnT>
                    <a:lnB w="6350" cap="flat" cmpd="sng" algn="ctr">
                      <a:solidFill>
                        <a:srgbClr val="102917"/>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883380504"/>
                  </a:ext>
                </a:extLst>
              </a:tr>
              <a:tr h="1603630">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C001</a:t>
                      </a:r>
                    </a:p>
                  </a:txBody>
                  <a:tcPr marL="12336" marR="12336" marT="2467" marB="2467">
                    <a:lnL w="6350" cap="flat" cmpd="sng" algn="ctr">
                      <a:solidFill>
                        <a:srgbClr val="103217"/>
                      </a:solidFill>
                      <a:prstDash val="solid"/>
                      <a:round/>
                      <a:headEnd type="none" w="med" len="med"/>
                      <a:tailEnd type="none" w="med" len="med"/>
                    </a:lnL>
                    <a:lnR w="6350" cap="flat" cmpd="sng" algn="ctr">
                      <a:solidFill>
                        <a:srgbClr val="7029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1032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Verify email sent to Kamyar Hodjati on case creation</a:t>
                      </a:r>
                    </a:p>
                  </a:txBody>
                  <a:tcPr marL="12336" marR="12336" marT="2467" marB="2467">
                    <a:lnL w="6350" cap="flat" cmpd="sng" algn="ctr">
                      <a:solidFill>
                        <a:srgbClr val="702917"/>
                      </a:solidFill>
                      <a:prstDash val="solid"/>
                      <a:round/>
                      <a:headEnd type="none" w="med" len="med"/>
                      <a:tailEnd type="none" w="med" len="med"/>
                    </a:lnL>
                    <a:lnR w="6350" cap="flat" cmpd="sng" algn="ctr">
                      <a:solidFill>
                        <a:srgbClr val="7029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5037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1. Select Sales &amp; Lightning App &gt; Case. 2. Click on New &gt; select Machine/Component Failure. 3. Ensure Sales Organization of Account is PCA1. 4. Save the case.</a:t>
                      </a:r>
                    </a:p>
                  </a:txBody>
                  <a:tcPr marL="12336" marR="12336" marT="2467" marB="2467">
                    <a:lnL w="6350" cap="flat" cmpd="sng" algn="ctr">
                      <a:solidFill>
                        <a:srgbClr val="702917"/>
                      </a:solidFill>
                      <a:prstDash val="solid"/>
                      <a:round/>
                      <a:headEnd type="none" w="med" len="med"/>
                      <a:tailEnd type="none" w="med" len="med"/>
                    </a:lnL>
                    <a:lnR w="6350" cap="flat" cmpd="sng" algn="ctr">
                      <a:solidFill>
                        <a:srgbClr val="702917"/>
                      </a:solidFill>
                      <a:prstDash val="solid"/>
                      <a:round/>
                      <a:headEnd type="none" w="med" len="med"/>
                      <a:tailEnd type="none" w="med" len="med"/>
                    </a:lnR>
                    <a:lnT w="6350" cap="flat" cmpd="sng" algn="ctr">
                      <a:solidFill>
                        <a:srgbClr val="103217"/>
                      </a:solidFill>
                      <a:prstDash val="solid"/>
                      <a:round/>
                      <a:headEnd type="none" w="med" len="med"/>
                      <a:tailEnd type="none" w="med" len="med"/>
                    </a:lnT>
                    <a:lnB w="6350" cap="flat" cmpd="sng" algn="ctr">
                      <a:solidFill>
                        <a:srgbClr val="B02E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An email should be sent to Kamyar Hodjati from No-Reply Komatsu CRM.</a:t>
                      </a:r>
                    </a:p>
                  </a:txBody>
                  <a:tcPr marL="12336" marR="12336" marT="2467" marB="2467">
                    <a:lnL w="6350" cap="flat" cmpd="sng" algn="ctr">
                      <a:solidFill>
                        <a:srgbClr val="702917"/>
                      </a:solidFill>
                      <a:prstDash val="solid"/>
                      <a:round/>
                      <a:headEnd type="none" w="med" len="med"/>
                      <a:tailEnd type="none" w="med" len="med"/>
                    </a:lnL>
                    <a:lnR w="6350" cap="flat" cmpd="sng" algn="ctr">
                      <a:solidFill>
                        <a:srgbClr val="303617"/>
                      </a:solidFill>
                      <a:prstDash val="solid"/>
                      <a:round/>
                      <a:headEnd type="none" w="med" len="med"/>
                      <a:tailEnd type="none" w="med" len="med"/>
                    </a:lnR>
                    <a:lnT w="6350" cap="flat" cmpd="sng" algn="ctr">
                      <a:solidFill>
                        <a:srgbClr val="B02E17"/>
                      </a:solidFill>
                      <a:prstDash val="solid"/>
                      <a:round/>
                      <a:headEnd type="none" w="med" len="med"/>
                      <a:tailEnd type="none" w="med" len="med"/>
                    </a:lnT>
                    <a:lnB w="6350" cap="flat" cmpd="sng" algn="ctr">
                      <a:solidFill>
                        <a:srgbClr val="B02E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12336" marR="12336" marT="2467" marB="2467">
                    <a:lnL w="6350" cap="flat" cmpd="sng" algn="ctr">
                      <a:solidFill>
                        <a:srgbClr val="303617"/>
                      </a:solidFill>
                      <a:prstDash val="solid"/>
                      <a:round/>
                      <a:headEnd type="none" w="med" len="med"/>
                      <a:tailEnd type="none" w="med" len="med"/>
                    </a:lnL>
                    <a:lnR w="6350" cap="flat" cmpd="sng" algn="ctr">
                      <a:solidFill>
                        <a:srgbClr val="102917"/>
                      </a:solidFill>
                      <a:prstDash val="solid"/>
                      <a:round/>
                      <a:headEnd type="none" w="med" len="med"/>
                      <a:tailEnd type="none" w="med" len="med"/>
                    </a:lnR>
                    <a:lnT w="6350" cap="flat" cmpd="sng" algn="ctr">
                      <a:solidFill>
                        <a:srgbClr val="B02E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12336" marR="12336" marT="2467" marB="2467">
                    <a:lnL w="6350" cap="flat" cmpd="sng" algn="ctr">
                      <a:solidFill>
                        <a:srgbClr val="102917"/>
                      </a:solidFill>
                      <a:prstDash val="solid"/>
                      <a:round/>
                      <a:headEnd type="none" w="med" len="med"/>
                      <a:tailEnd type="none" w="med" len="med"/>
                    </a:lnL>
                    <a:lnR w="6350" cap="flat" cmpd="sng" algn="ctr">
                      <a:solidFill>
                        <a:srgbClr val="702917"/>
                      </a:solidFill>
                      <a:prstDash val="solid"/>
                      <a:round/>
                      <a:headEnd type="none" w="med" len="med"/>
                      <a:tailEnd type="none" w="med" len="med"/>
                    </a:lnR>
                    <a:lnT w="6350" cap="flat" cmpd="sng" algn="ctr">
                      <a:solidFill>
                        <a:srgbClr val="103817"/>
                      </a:solidFill>
                      <a:prstDash val="solid"/>
                      <a:round/>
                      <a:headEnd type="none" w="med" len="med"/>
                      <a:tailEnd type="none" w="med" len="med"/>
                    </a:lnT>
                    <a:lnB w="6350" cap="flat" cmpd="sng" algn="ctr">
                      <a:solidFill>
                        <a:srgbClr val="1032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Account Sales Organization: PCA1</a:t>
                      </a:r>
                    </a:p>
                  </a:txBody>
                  <a:tcPr marL="12336" marR="12336" marT="2467" marB="2467">
                    <a:lnL w="6350" cap="flat" cmpd="sng" algn="ctr">
                      <a:solidFill>
                        <a:srgbClr val="702917"/>
                      </a:solidFill>
                      <a:prstDash val="solid"/>
                      <a:round/>
                      <a:headEnd type="none" w="med" len="med"/>
                      <a:tailEnd type="none" w="med" len="med"/>
                    </a:lnL>
                    <a:lnR w="6350" cap="flat" cmpd="sng" algn="ctr">
                      <a:solidFill>
                        <a:srgbClr val="B02E17"/>
                      </a:solidFill>
                      <a:prstDash val="solid"/>
                      <a:round/>
                      <a:headEnd type="none" w="med" len="med"/>
                      <a:tailEnd type="none" w="med" len="med"/>
                    </a:lnR>
                    <a:lnT w="6350" cap="flat" cmpd="sng" algn="ctr">
                      <a:solidFill>
                        <a:srgbClr val="103217"/>
                      </a:solidFill>
                      <a:prstDash val="solid"/>
                      <a:round/>
                      <a:headEnd type="none" w="med" len="med"/>
                      <a:tailEnd type="none" w="med" len="med"/>
                    </a:lnT>
                    <a:lnB w="6350" cap="flat" cmpd="sng" algn="ctr">
                      <a:solidFill>
                        <a:srgbClr val="102C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Positive test case to verify email functionality.</a:t>
                      </a:r>
                    </a:p>
                  </a:txBody>
                  <a:tcPr marL="12336" marR="12336" marT="2467" marB="2467">
                    <a:lnL w="6350" cap="flat" cmpd="sng" algn="ctr">
                      <a:solidFill>
                        <a:srgbClr val="B02E17"/>
                      </a:solidFill>
                      <a:prstDash val="solid"/>
                      <a:round/>
                      <a:headEnd type="none" w="med" len="med"/>
                      <a:tailEnd type="none" w="med" len="med"/>
                    </a:lnL>
                    <a:lnR w="6350" cap="flat" cmpd="sng" algn="ctr">
                      <a:solidFill>
                        <a:srgbClr val="3036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extLst>
                  <a:ext uri="{0D108BD9-81ED-4DB2-BD59-A6C34878D82A}">
                    <a16:rowId xmlns:a16="http://schemas.microsoft.com/office/drawing/2014/main" val="3961305440"/>
                  </a:ext>
                </a:extLst>
              </a:tr>
              <a:tr h="1603630">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C002</a:t>
                      </a:r>
                    </a:p>
                  </a:txBody>
                  <a:tcPr marL="12336" marR="12336" marT="2467" marB="2467">
                    <a:lnL w="6350" cap="flat" cmpd="sng" algn="ctr">
                      <a:solidFill>
                        <a:srgbClr val="702917"/>
                      </a:solidFill>
                      <a:prstDash val="solid"/>
                      <a:round/>
                      <a:headEnd type="none" w="med" len="med"/>
                      <a:tailEnd type="none" w="med" len="med"/>
                    </a:lnL>
                    <a:lnR w="6350" cap="flat" cmpd="sng" algn="ctr">
                      <a:solidFill>
                        <a:srgbClr val="102917"/>
                      </a:solidFill>
                      <a:prstDash val="solid"/>
                      <a:round/>
                      <a:headEnd type="none" w="med" len="med"/>
                      <a:tailEnd type="none" w="med" len="med"/>
                    </a:lnR>
                    <a:lnT w="6350" cap="flat" cmpd="sng" algn="ctr">
                      <a:solidFill>
                        <a:srgbClr val="1032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Verify case creation with valid data</a:t>
                      </a:r>
                    </a:p>
                  </a:txBody>
                  <a:tcPr marL="12336" marR="12336" marT="2467" marB="2467">
                    <a:lnL w="6350" cap="flat" cmpd="sng" algn="ctr">
                      <a:solidFill>
                        <a:srgbClr val="102917"/>
                      </a:solidFill>
                      <a:prstDash val="solid"/>
                      <a:round/>
                      <a:headEnd type="none" w="med" len="med"/>
                      <a:tailEnd type="none" w="med" len="med"/>
                    </a:lnL>
                    <a:lnR w="6350" cap="flat" cmpd="sng" algn="ctr">
                      <a:solidFill>
                        <a:srgbClr val="303617"/>
                      </a:solidFill>
                      <a:prstDash val="solid"/>
                      <a:round/>
                      <a:headEnd type="none" w="med" len="med"/>
                      <a:tailEnd type="none" w="med" len="med"/>
                    </a:lnR>
                    <a:lnT w="6350" cap="flat" cmpd="sng" algn="ctr">
                      <a:solidFill>
                        <a:srgbClr val="503717"/>
                      </a:solidFill>
                      <a:prstDash val="solid"/>
                      <a:round/>
                      <a:headEnd type="none" w="med" len="med"/>
                      <a:tailEnd type="none" w="med" len="med"/>
                    </a:lnT>
                    <a:lnB w="6350" cap="flat" cmpd="sng" algn="ctr">
                      <a:solidFill>
                        <a:srgbClr val="1032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1. Select Sales &amp; Lightning App &gt; Case. 2. Click on New &gt; select Machine/Component Failure. 3. Enter valid Sales Organization of Account. 4. Save the case.</a:t>
                      </a:r>
                    </a:p>
                  </a:txBody>
                  <a:tcPr marL="12336" marR="12336" marT="2467" marB="2467">
                    <a:lnL w="6350" cap="flat" cmpd="sng" algn="ctr">
                      <a:solidFill>
                        <a:srgbClr val="303617"/>
                      </a:solidFill>
                      <a:prstDash val="solid"/>
                      <a:round/>
                      <a:headEnd type="none" w="med" len="med"/>
                      <a:tailEnd type="none" w="med" len="med"/>
                    </a:lnL>
                    <a:lnR w="6350" cap="flat" cmpd="sng" algn="ctr">
                      <a:solidFill>
                        <a:srgbClr val="102917"/>
                      </a:solidFill>
                      <a:prstDash val="solid"/>
                      <a:round/>
                      <a:headEnd type="none" w="med" len="med"/>
                      <a:tailEnd type="none" w="med" len="med"/>
                    </a:lnR>
                    <a:lnT w="6350" cap="flat" cmpd="sng" algn="ctr">
                      <a:solidFill>
                        <a:srgbClr val="B02E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A new case should be created successfully.</a:t>
                      </a:r>
                    </a:p>
                  </a:txBody>
                  <a:tcPr marL="12336" marR="12336" marT="2467" marB="2467">
                    <a:lnL w="6350" cap="flat" cmpd="sng" algn="ctr">
                      <a:solidFill>
                        <a:srgbClr val="102917"/>
                      </a:solidFill>
                      <a:prstDash val="solid"/>
                      <a:round/>
                      <a:headEnd type="none" w="med" len="med"/>
                      <a:tailEnd type="none" w="med" len="med"/>
                    </a:lnL>
                    <a:lnR w="6350" cap="flat" cmpd="sng" algn="ctr">
                      <a:solidFill>
                        <a:srgbClr val="902A17"/>
                      </a:solidFill>
                      <a:prstDash val="solid"/>
                      <a:round/>
                      <a:headEnd type="none" w="med" len="med"/>
                      <a:tailEnd type="none" w="med" len="med"/>
                    </a:lnR>
                    <a:lnT w="6350" cap="flat" cmpd="sng" algn="ctr">
                      <a:solidFill>
                        <a:srgbClr val="B02E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12336" marR="12336" marT="2467" marB="2467">
                    <a:lnL w="6350" cap="flat" cmpd="sng" algn="ctr">
                      <a:solidFill>
                        <a:srgbClr val="902A17"/>
                      </a:solidFill>
                      <a:prstDash val="solid"/>
                      <a:round/>
                      <a:headEnd type="none" w="med" len="med"/>
                      <a:tailEnd type="none" w="med" len="med"/>
                    </a:lnL>
                    <a:lnR w="6350" cap="flat" cmpd="sng" algn="ctr">
                      <a:solidFill>
                        <a:srgbClr val="302A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12336" marR="12336" marT="2467" marB="2467">
                    <a:lnL w="6350" cap="flat" cmpd="sng" algn="ctr">
                      <a:solidFill>
                        <a:srgbClr val="302A17"/>
                      </a:solidFill>
                      <a:prstDash val="solid"/>
                      <a:round/>
                      <a:headEnd type="none" w="med" len="med"/>
                      <a:tailEnd type="none" w="med" len="med"/>
                    </a:lnL>
                    <a:lnR w="6350" cap="flat" cmpd="sng" algn="ctr">
                      <a:solidFill>
                        <a:srgbClr val="102917"/>
                      </a:solidFill>
                      <a:prstDash val="solid"/>
                      <a:round/>
                      <a:headEnd type="none" w="med" len="med"/>
                      <a:tailEnd type="none" w="med" len="med"/>
                    </a:lnR>
                    <a:lnT w="6350" cap="flat" cmpd="sng" algn="ctr">
                      <a:solidFill>
                        <a:srgbClr val="1032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Account Sales Organization: PCA1</a:t>
                      </a:r>
                    </a:p>
                  </a:txBody>
                  <a:tcPr marL="12336" marR="12336" marT="2467" marB="2467">
                    <a:lnL w="6350" cap="flat" cmpd="sng" algn="ctr">
                      <a:solidFill>
                        <a:srgbClr val="102917"/>
                      </a:solidFill>
                      <a:prstDash val="solid"/>
                      <a:round/>
                      <a:headEnd type="none" w="med" len="med"/>
                      <a:tailEnd type="none" w="med" len="med"/>
                    </a:lnL>
                    <a:lnR w="6350" cap="flat" cmpd="sng" algn="ctr">
                      <a:solidFill>
                        <a:srgbClr val="902A17"/>
                      </a:solidFill>
                      <a:prstDash val="solid"/>
                      <a:round/>
                      <a:headEnd type="none" w="med" len="med"/>
                      <a:tailEnd type="none" w="med" len="med"/>
                    </a:lnR>
                    <a:lnT w="6350" cap="flat" cmpd="sng" algn="ctr">
                      <a:solidFill>
                        <a:srgbClr val="102C17"/>
                      </a:solidFill>
                      <a:prstDash val="solid"/>
                      <a:round/>
                      <a:headEnd type="none" w="med" len="med"/>
                      <a:tailEnd type="none" w="med" len="med"/>
                    </a:lnT>
                    <a:lnB w="6350" cap="flat" cmpd="sng" algn="ctr">
                      <a:solidFill>
                        <a:srgbClr val="5037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Positive test case to verify case creation.</a:t>
                      </a:r>
                    </a:p>
                  </a:txBody>
                  <a:tcPr marL="12336" marR="12336" marT="2467" marB="2467">
                    <a:lnL w="6350" cap="flat" cmpd="sng" algn="ctr">
                      <a:solidFill>
                        <a:srgbClr val="902A17"/>
                      </a:solidFill>
                      <a:prstDash val="solid"/>
                      <a:round/>
                      <a:headEnd type="none" w="med" len="med"/>
                      <a:tailEnd type="none" w="med" len="med"/>
                    </a:lnL>
                    <a:lnR w="6350" cap="flat" cmpd="sng" algn="ctr">
                      <a:solidFill>
                        <a:srgbClr val="5037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303617"/>
                      </a:solidFill>
                      <a:prstDash val="solid"/>
                      <a:round/>
                      <a:headEnd type="none" w="med" len="med"/>
                      <a:tailEnd type="none" w="med" len="med"/>
                    </a:lnB>
                    <a:noFill/>
                  </a:tcPr>
                </a:tc>
                <a:extLst>
                  <a:ext uri="{0D108BD9-81ED-4DB2-BD59-A6C34878D82A}">
                    <a16:rowId xmlns:a16="http://schemas.microsoft.com/office/drawing/2014/main" val="437431541"/>
                  </a:ext>
                </a:extLst>
              </a:tr>
              <a:tr h="1710209">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C003</a:t>
                      </a:r>
                    </a:p>
                  </a:txBody>
                  <a:tcPr marL="12336" marR="12336" marT="2467" marB="2467">
                    <a:lnL w="6350" cap="flat" cmpd="sng" algn="ctr">
                      <a:solidFill>
                        <a:srgbClr val="302A17"/>
                      </a:solidFill>
                      <a:prstDash val="solid"/>
                      <a:round/>
                      <a:headEnd type="none" w="med" len="med"/>
                      <a:tailEnd type="none" w="med" len="med"/>
                    </a:lnL>
                    <a:lnR w="6350" cap="flat" cmpd="sng" algn="ctr">
                      <a:solidFill>
                        <a:srgbClr val="3036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1032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Verify no email sent when Sales Organization is not PCA1</a:t>
                      </a:r>
                    </a:p>
                  </a:txBody>
                  <a:tcPr marL="12336" marR="12336" marT="2467" marB="2467">
                    <a:lnL w="6350" cap="flat" cmpd="sng" algn="ctr">
                      <a:solidFill>
                        <a:srgbClr val="303617"/>
                      </a:solidFill>
                      <a:prstDash val="solid"/>
                      <a:round/>
                      <a:headEnd type="none" w="med" len="med"/>
                      <a:tailEnd type="none" w="med" len="med"/>
                    </a:lnL>
                    <a:lnR w="6350" cap="flat" cmpd="sng" algn="ctr">
                      <a:solidFill>
                        <a:srgbClr val="B03717"/>
                      </a:solidFill>
                      <a:prstDash val="solid"/>
                      <a:round/>
                      <a:headEnd type="none" w="med" len="med"/>
                      <a:tailEnd type="none" w="med" len="med"/>
                    </a:lnR>
                    <a:lnT w="6350" cap="flat" cmpd="sng" algn="ctr">
                      <a:solidFill>
                        <a:srgbClr val="1032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1. Select Sales &amp; Lightning App &gt; Case. 2. Click on New &gt; select Machine/Component Failure. 3. Enter Sales Organization of Account other than PCA1. 4. Save the case.</a:t>
                      </a:r>
                    </a:p>
                  </a:txBody>
                  <a:tcPr marL="12336" marR="12336" marT="2467" marB="2467">
                    <a:lnL w="6350" cap="flat" cmpd="sng" algn="ctr">
                      <a:solidFill>
                        <a:srgbClr val="B03717"/>
                      </a:solidFill>
                      <a:prstDash val="solid"/>
                      <a:round/>
                      <a:headEnd type="none" w="med" len="med"/>
                      <a:tailEnd type="none" w="med" len="med"/>
                    </a:lnL>
                    <a:lnR w="6350" cap="flat" cmpd="sng" algn="ctr">
                      <a:solidFill>
                        <a:srgbClr val="B02E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902A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No email should be sent to Kamyar Hodjati.</a:t>
                      </a:r>
                    </a:p>
                  </a:txBody>
                  <a:tcPr marL="12336" marR="12336" marT="2467" marB="2467">
                    <a:lnL w="6350" cap="flat" cmpd="sng" algn="ctr">
                      <a:solidFill>
                        <a:srgbClr val="B02E17"/>
                      </a:solidFill>
                      <a:prstDash val="solid"/>
                      <a:round/>
                      <a:headEnd type="none" w="med" len="med"/>
                      <a:tailEnd type="none" w="med" len="med"/>
                    </a:lnL>
                    <a:lnR w="6350" cap="flat" cmpd="sng" algn="ctr">
                      <a:solidFill>
                        <a:srgbClr val="1032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5037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12336" marR="12336" marT="2467" marB="2467">
                    <a:lnL w="6350" cap="flat" cmpd="sng" algn="ctr">
                      <a:solidFill>
                        <a:srgbClr val="103217"/>
                      </a:solidFill>
                      <a:prstDash val="solid"/>
                      <a:round/>
                      <a:headEnd type="none" w="med" len="med"/>
                      <a:tailEnd type="none" w="med" len="med"/>
                    </a:lnL>
                    <a:lnR w="6350" cap="flat" cmpd="sng" algn="ctr">
                      <a:solidFill>
                        <a:srgbClr val="102C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B037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To be filled after execution.</a:t>
                      </a:r>
                    </a:p>
                  </a:txBody>
                  <a:tcPr marL="12336" marR="12336" marT="2467" marB="2467">
                    <a:lnL w="6350" cap="flat" cmpd="sng" algn="ctr">
                      <a:solidFill>
                        <a:srgbClr val="102C17"/>
                      </a:solidFill>
                      <a:prstDash val="solid"/>
                      <a:round/>
                      <a:headEnd type="none" w="med" len="med"/>
                      <a:tailEnd type="none" w="med" len="med"/>
                    </a:lnL>
                    <a:lnR w="6350" cap="flat" cmpd="sng" algn="ctr">
                      <a:solidFill>
                        <a:srgbClr val="103217"/>
                      </a:solidFill>
                      <a:prstDash val="solid"/>
                      <a:round/>
                      <a:headEnd type="none" w="med" len="med"/>
                      <a:tailEnd type="none" w="med" len="med"/>
                    </a:lnR>
                    <a:lnT w="6350" cap="flat" cmpd="sng" algn="ctr">
                      <a:solidFill>
                        <a:srgbClr val="102917"/>
                      </a:solidFill>
                      <a:prstDash val="solid"/>
                      <a:round/>
                      <a:headEnd type="none" w="med" len="med"/>
                      <a:tailEnd type="none" w="med" len="med"/>
                    </a:lnT>
                    <a:lnB w="6350" cap="flat" cmpd="sng" algn="ctr">
                      <a:solidFill>
                        <a:srgbClr val="1032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Account Sales Organization: XYZ1</a:t>
                      </a:r>
                    </a:p>
                  </a:txBody>
                  <a:tcPr marL="12336" marR="12336" marT="2467" marB="2467">
                    <a:lnL w="6350" cap="flat" cmpd="sng" algn="ctr">
                      <a:solidFill>
                        <a:srgbClr val="103217"/>
                      </a:solidFill>
                      <a:prstDash val="solid"/>
                      <a:round/>
                      <a:headEnd type="none" w="med" len="med"/>
                      <a:tailEnd type="none" w="med" len="med"/>
                    </a:lnL>
                    <a:lnR w="6350" cap="flat" cmpd="sng" algn="ctr">
                      <a:solidFill>
                        <a:srgbClr val="503717"/>
                      </a:solidFill>
                      <a:prstDash val="solid"/>
                      <a:round/>
                      <a:headEnd type="none" w="med" len="med"/>
                      <a:tailEnd type="none" w="med" len="med"/>
                    </a:lnR>
                    <a:lnT w="6350" cap="flat" cmpd="sng" algn="ctr">
                      <a:solidFill>
                        <a:srgbClr val="5037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tc>
                  <a:txBody>
                    <a:bodyPr/>
                    <a:lstStyle/>
                    <a:p>
                      <a:pPr fontAlgn="t"/>
                      <a:r>
                        <a:rPr lang="en-US" sz="1200">
                          <a:effectLst/>
                          <a:latin typeface="Calibri" panose="020F0502020204030204" pitchFamily="34" charset="0"/>
                          <a:ea typeface="Calibri" panose="020F0502020204030204" pitchFamily="34" charset="0"/>
                          <a:cs typeface="Calibri" panose="020F0502020204030204" pitchFamily="34" charset="0"/>
                        </a:rPr>
                        <a:t>Negative test case to verify email is not sent for other Sales Organizations.</a:t>
                      </a:r>
                    </a:p>
                  </a:txBody>
                  <a:tcPr marL="12336" marR="12336" marT="2467" marB="2467">
                    <a:lnL w="6350" cap="flat" cmpd="sng" algn="ctr">
                      <a:solidFill>
                        <a:srgbClr val="503717"/>
                      </a:solidFill>
                      <a:prstDash val="solid"/>
                      <a:round/>
                      <a:headEnd type="none" w="med" len="med"/>
                      <a:tailEnd type="none" w="med" len="med"/>
                    </a:lnL>
                    <a:lnR w="6350" cap="flat" cmpd="sng" algn="ctr">
                      <a:solidFill>
                        <a:srgbClr val="B02E17"/>
                      </a:solidFill>
                      <a:prstDash val="solid"/>
                      <a:round/>
                      <a:headEnd type="none" w="med" len="med"/>
                      <a:tailEnd type="none" w="med" len="med"/>
                    </a:lnR>
                    <a:lnT w="6350" cap="flat" cmpd="sng" algn="ctr">
                      <a:solidFill>
                        <a:srgbClr val="303617"/>
                      </a:solidFill>
                      <a:prstDash val="solid"/>
                      <a:round/>
                      <a:headEnd type="none" w="med" len="med"/>
                      <a:tailEnd type="none" w="med" len="med"/>
                    </a:lnT>
                    <a:lnB w="6350" cap="flat" cmpd="sng" algn="ctr">
                      <a:solidFill>
                        <a:srgbClr val="102917"/>
                      </a:solidFill>
                      <a:prstDash val="solid"/>
                      <a:round/>
                      <a:headEnd type="none" w="med" len="med"/>
                      <a:tailEnd type="none" w="med" len="med"/>
                    </a:lnB>
                    <a:noFill/>
                  </a:tcPr>
                </a:tc>
                <a:extLst>
                  <a:ext uri="{0D108BD9-81ED-4DB2-BD59-A6C34878D82A}">
                    <a16:rowId xmlns:a16="http://schemas.microsoft.com/office/drawing/2014/main" val="968582026"/>
                  </a:ext>
                </a:extLst>
              </a:tr>
            </a:tbl>
          </a:graphicData>
        </a:graphic>
      </p:graphicFrame>
      <p:pic>
        <p:nvPicPr>
          <p:cNvPr id="4" name="Picture 3">
            <a:extLst>
              <a:ext uri="{FF2B5EF4-FFF2-40B4-BE49-F238E27FC236}">
                <a16:creationId xmlns:a16="http://schemas.microsoft.com/office/drawing/2014/main" id="{BCF98929-6032-02DB-D901-5A1C0C3345B2}"/>
              </a:ext>
            </a:extLst>
          </p:cNvPr>
          <p:cNvPicPr>
            <a:picLocks noChangeAspect="1"/>
          </p:cNvPicPr>
          <p:nvPr/>
        </p:nvPicPr>
        <p:blipFill>
          <a:blip r:embed="rId2"/>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26653416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A21A76-CA51-FC71-9C68-63656954A60B}"/>
              </a:ext>
            </a:extLst>
          </p:cNvPr>
          <p:cNvSpPr>
            <a:spLocks noGrp="1"/>
          </p:cNvSpPr>
          <p:nvPr>
            <p:ph type="title"/>
          </p:nvPr>
        </p:nvSpPr>
        <p:spPr>
          <a:xfrm>
            <a:off x="2600661" y="470816"/>
            <a:ext cx="6990678" cy="768522"/>
          </a:xfrm>
        </p:spPr>
        <p:txBody>
          <a:bodyPr/>
          <a:lstStyle/>
          <a:p>
            <a:r>
              <a:rPr lang="en-US" sz="1800"/>
              <a:t>Points to BE note when ms copilot using</a:t>
            </a:r>
            <a:br>
              <a:rPr lang="en-US" sz="1200" i="0">
                <a:solidFill>
                  <a:srgbClr val="1E1E1E"/>
                </a:solidFill>
                <a:effectLst/>
                <a:latin typeface="Salesforce Sans"/>
              </a:rPr>
            </a:br>
            <a:endParaRPr lang="en-US" sz="1800"/>
          </a:p>
        </p:txBody>
      </p:sp>
      <p:sp>
        <p:nvSpPr>
          <p:cNvPr id="3" name="TextBox 2">
            <a:extLst>
              <a:ext uri="{FF2B5EF4-FFF2-40B4-BE49-F238E27FC236}">
                <a16:creationId xmlns:a16="http://schemas.microsoft.com/office/drawing/2014/main" id="{4CA8BECF-5569-3A71-11D9-51884AAC6D5D}"/>
              </a:ext>
            </a:extLst>
          </p:cNvPr>
          <p:cNvSpPr txBox="1"/>
          <p:nvPr/>
        </p:nvSpPr>
        <p:spPr>
          <a:xfrm>
            <a:off x="1132485" y="1275959"/>
            <a:ext cx="10712185" cy="4198970"/>
          </a:xfrm>
          <a:prstGeom prst="rect">
            <a:avLst/>
          </a:prstGeom>
          <a:noFill/>
        </p:spPr>
        <p:txBody>
          <a:bodyPr wrap="square" rtlCol="0">
            <a:spAutoFit/>
          </a:bodyPr>
          <a:lstStyle/>
          <a:p>
            <a:pPr marL="514350" marR="0" lvl="0" indent="-514350" algn="l" defTabSz="914400" rtl="0" eaLnBrk="1" fontAlgn="auto" latinLnBrk="0" hangingPunct="1">
              <a:lnSpc>
                <a:spcPct val="107000"/>
              </a:lnSpc>
              <a:spcBef>
                <a:spcPts val="0"/>
              </a:spcBef>
              <a:spcAft>
                <a:spcPts val="0"/>
              </a:spcAft>
              <a:buClrTx/>
              <a:buSzTx/>
              <a:buFont typeface="+mj-lt"/>
              <a:buAutoNum type="arabicParenR"/>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ccuracy depends on the proper user story creation</a:t>
            </a:r>
          </a:p>
          <a:p>
            <a:pPr marL="514350" marR="0" lvl="0" indent="-514350" algn="l" defTabSz="914400" rtl="0" eaLnBrk="1" fontAlgn="auto" latinLnBrk="0" hangingPunct="1">
              <a:lnSpc>
                <a:spcPct val="107000"/>
              </a:lnSpc>
              <a:spcBef>
                <a:spcPts val="0"/>
              </a:spcBef>
              <a:spcAft>
                <a:spcPts val="0"/>
              </a:spcAft>
              <a:buClrTx/>
              <a:buSzTx/>
              <a:buFont typeface="+mj-lt"/>
              <a:buAutoNum type="arabicParenR"/>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lways choose </a:t>
            </a:r>
            <a:r>
              <a:rPr kumimoji="0" lang="en-US" sz="2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ork</a:t>
            </a: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option in the tab to give the results to your project specific.</a:t>
            </a:r>
          </a:p>
          <a:p>
            <a:pPr marL="514350" marR="0" lvl="0" indent="-514350" algn="l" defTabSz="914400" rtl="0" eaLnBrk="1" fontAlgn="auto" latinLnBrk="0" hangingPunct="1">
              <a:lnSpc>
                <a:spcPct val="107000"/>
              </a:lnSpc>
              <a:spcBef>
                <a:spcPts val="0"/>
              </a:spcBef>
              <a:spcAft>
                <a:spcPts val="0"/>
              </a:spcAft>
              <a:buClrTx/>
              <a:buSzTx/>
              <a:buFont typeface="+mj-lt"/>
              <a:buAutoNum type="arabicParenR"/>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S Copilot can help to prepare the test case design </a:t>
            </a:r>
          </a:p>
          <a:p>
            <a:pPr marL="514350" marR="0" lvl="0" indent="-514350" algn="l" defTabSz="914400" rtl="0" eaLnBrk="1" fontAlgn="auto" latinLnBrk="0" hangingPunct="1">
              <a:lnSpc>
                <a:spcPct val="107000"/>
              </a:lnSpc>
              <a:spcBef>
                <a:spcPts val="0"/>
              </a:spcBef>
              <a:spcAft>
                <a:spcPts val="0"/>
              </a:spcAft>
              <a:buClrTx/>
              <a:buSzTx/>
              <a:buFont typeface="+mj-lt"/>
              <a:buAutoNum type="arabicParenR"/>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lso, it will help you to provide the steps to prepare the test data.</a:t>
            </a:r>
          </a:p>
          <a:p>
            <a:pPr marL="514350" marR="0" lvl="0" indent="-514350" algn="l" defTabSz="914400" rtl="0" eaLnBrk="1" fontAlgn="auto" latinLnBrk="0" hangingPunct="1">
              <a:lnSpc>
                <a:spcPct val="107000"/>
              </a:lnSpc>
              <a:spcBef>
                <a:spcPts val="0"/>
              </a:spcBef>
              <a:spcAft>
                <a:spcPts val="0"/>
              </a:spcAft>
              <a:buClrTx/>
              <a:buSzTx/>
              <a:buFont typeface="+mj-lt"/>
              <a:buAutoNum type="arabicParenR"/>
              <a:tabLst/>
              <a:defRPr/>
            </a:pPr>
            <a:r>
              <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x : I need to find a Salesforce account that has existing cases. what is the fastest/easiest way to do this?</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Ubuntu"/>
              <a:ea typeface="+mn-ea"/>
              <a:cs typeface="+mn-cs"/>
            </a:endParaRPr>
          </a:p>
        </p:txBody>
      </p:sp>
      <p:pic>
        <p:nvPicPr>
          <p:cNvPr id="4" name="Picture 3">
            <a:extLst>
              <a:ext uri="{FF2B5EF4-FFF2-40B4-BE49-F238E27FC236}">
                <a16:creationId xmlns:a16="http://schemas.microsoft.com/office/drawing/2014/main" id="{4CB62FFA-223A-B857-8230-02C15D221134}"/>
              </a:ext>
            </a:extLst>
          </p:cNvPr>
          <p:cNvPicPr>
            <a:picLocks noChangeAspect="1"/>
          </p:cNvPicPr>
          <p:nvPr/>
        </p:nvPicPr>
        <p:blipFill>
          <a:blip r:embed="rId2"/>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2305957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40C73A9-C76B-9353-5D4D-327CB6DD3C4A}"/>
              </a:ext>
            </a:extLst>
          </p:cNvPr>
          <p:cNvSpPr>
            <a:spLocks noGrp="1"/>
          </p:cNvSpPr>
          <p:nvPr>
            <p:ph type="title"/>
          </p:nvPr>
        </p:nvSpPr>
        <p:spPr>
          <a:xfrm>
            <a:off x="466683" y="335846"/>
            <a:ext cx="10860687" cy="542540"/>
          </a:xfrm>
        </p:spPr>
        <p:txBody>
          <a:bodyPr/>
          <a:lstStyle/>
          <a:p>
            <a:r>
              <a:rPr lang="en-IN" sz="2400" b="1"/>
              <a:t>Current Journey FLOW of technical support team : Gen AI for CX Foundry</a:t>
            </a:r>
            <a:endParaRPr lang="en-IN" sz="2400" b="1">
              <a:cs typeface="Calibri Light"/>
            </a:endParaRPr>
          </a:p>
        </p:txBody>
      </p:sp>
      <p:pic>
        <p:nvPicPr>
          <p:cNvPr id="70" name="Graphic 69" descr="Computer with solid fill">
            <a:extLst>
              <a:ext uri="{FF2B5EF4-FFF2-40B4-BE49-F238E27FC236}">
                <a16:creationId xmlns:a16="http://schemas.microsoft.com/office/drawing/2014/main" id="{40DE2E1E-0E9A-3784-4774-7305A39EA7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0564" y="2290207"/>
            <a:ext cx="536026" cy="536026"/>
          </a:xfrm>
          <a:prstGeom prst="rect">
            <a:avLst/>
          </a:prstGeom>
        </p:spPr>
      </p:pic>
      <p:sp>
        <p:nvSpPr>
          <p:cNvPr id="71" name="Arrow: Chevron 70">
            <a:extLst>
              <a:ext uri="{FF2B5EF4-FFF2-40B4-BE49-F238E27FC236}">
                <a16:creationId xmlns:a16="http://schemas.microsoft.com/office/drawing/2014/main" id="{66FF75E7-532A-E02B-601B-B3B8EBB784FA}"/>
              </a:ext>
            </a:extLst>
          </p:cNvPr>
          <p:cNvSpPr/>
          <p:nvPr/>
        </p:nvSpPr>
        <p:spPr>
          <a:xfrm>
            <a:off x="1141559" y="1174219"/>
            <a:ext cx="1645800" cy="360000"/>
          </a:xfrm>
          <a:prstGeom prst="chevr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C1DF0EEE-449A-4D96-583F-2E49E980B130}"/>
              </a:ext>
            </a:extLst>
          </p:cNvPr>
          <p:cNvSpPr txBox="1"/>
          <p:nvPr/>
        </p:nvSpPr>
        <p:spPr>
          <a:xfrm>
            <a:off x="1269529" y="1220412"/>
            <a:ext cx="1797064"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white"/>
                </a:solidFill>
                <a:effectLst/>
                <a:uLnTx/>
                <a:uFillTx/>
                <a:latin typeface="Calibri" panose="020F0502020204030204"/>
                <a:ea typeface="+mn-ea"/>
                <a:cs typeface="+mn-cs"/>
              </a:rPr>
              <a:t>Understanding the issue</a:t>
            </a:r>
          </a:p>
        </p:txBody>
      </p:sp>
      <p:sp>
        <p:nvSpPr>
          <p:cNvPr id="77" name="Arrow: Pentagon 76">
            <a:extLst>
              <a:ext uri="{FF2B5EF4-FFF2-40B4-BE49-F238E27FC236}">
                <a16:creationId xmlns:a16="http://schemas.microsoft.com/office/drawing/2014/main" id="{39F9513F-2BC6-2365-4D77-30721CC06D49}"/>
              </a:ext>
            </a:extLst>
          </p:cNvPr>
          <p:cNvSpPr/>
          <p:nvPr/>
        </p:nvSpPr>
        <p:spPr>
          <a:xfrm>
            <a:off x="377686" y="1174219"/>
            <a:ext cx="824125" cy="360000"/>
          </a:xfrm>
          <a:prstGeom prst="homePlat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TextBox 77">
            <a:extLst>
              <a:ext uri="{FF2B5EF4-FFF2-40B4-BE49-F238E27FC236}">
                <a16:creationId xmlns:a16="http://schemas.microsoft.com/office/drawing/2014/main" id="{E1874DF8-A0A4-90D1-06D4-BFD6D1A3EF65}"/>
              </a:ext>
            </a:extLst>
          </p:cNvPr>
          <p:cNvSpPr txBox="1"/>
          <p:nvPr/>
        </p:nvSpPr>
        <p:spPr>
          <a:xfrm>
            <a:off x="477248" y="1168730"/>
            <a:ext cx="98875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black"/>
                </a:solidFill>
                <a:effectLst/>
                <a:uLnTx/>
                <a:uFillTx/>
                <a:latin typeface="Calibri" panose="020F0502020204030204"/>
                <a:ea typeface="+mn-ea"/>
                <a:cs typeface="+mn-cs"/>
              </a:rPr>
              <a:t>Start</a:t>
            </a:r>
          </a:p>
        </p:txBody>
      </p:sp>
      <p:sp>
        <p:nvSpPr>
          <p:cNvPr id="82" name="TextBox 81">
            <a:extLst>
              <a:ext uri="{FF2B5EF4-FFF2-40B4-BE49-F238E27FC236}">
                <a16:creationId xmlns:a16="http://schemas.microsoft.com/office/drawing/2014/main" id="{F56ADDE7-1FF8-A6A6-2A39-D482C9266FF7}"/>
              </a:ext>
            </a:extLst>
          </p:cNvPr>
          <p:cNvSpPr txBox="1"/>
          <p:nvPr/>
        </p:nvSpPr>
        <p:spPr>
          <a:xfrm>
            <a:off x="310358" y="2772081"/>
            <a:ext cx="1794903" cy="707886"/>
          </a:xfrm>
          <a:prstGeom prst="rect">
            <a:avLst/>
          </a:prstGeom>
          <a:noFill/>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sz="900">
                <a:solidFill>
                  <a:srgbClr val="FFFFFF"/>
                </a:solidFill>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FFFFFF"/>
                </a:solidFill>
                <a:effectLst/>
                <a:uLnTx/>
                <a:uFillTx/>
                <a:latin typeface="Calibri" panose="020F0502020204030204"/>
                <a:ea typeface="+mn-ea"/>
                <a:cs typeface="+mn-cs"/>
              </a:rPr>
              <a:t>Representative logs into the system and finds a ticket from a different region which needs immediate attention</a:t>
            </a:r>
          </a:p>
        </p:txBody>
      </p:sp>
      <p:cxnSp>
        <p:nvCxnSpPr>
          <p:cNvPr id="91" name="Straight Connector 90">
            <a:extLst>
              <a:ext uri="{FF2B5EF4-FFF2-40B4-BE49-F238E27FC236}">
                <a16:creationId xmlns:a16="http://schemas.microsoft.com/office/drawing/2014/main" id="{3AB9796E-947A-C6D5-B811-4C362655CDB1}"/>
              </a:ext>
            </a:extLst>
          </p:cNvPr>
          <p:cNvCxnSpPr>
            <a:cxnSpLocks/>
          </p:cNvCxnSpPr>
          <p:nvPr/>
        </p:nvCxnSpPr>
        <p:spPr>
          <a:xfrm flipV="1">
            <a:off x="729920" y="4137150"/>
            <a:ext cx="10370754" cy="812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D6F9D4E5-1DB2-3927-3C90-C71BF29D0DF6}"/>
              </a:ext>
            </a:extLst>
          </p:cNvPr>
          <p:cNvCxnSpPr>
            <a:cxnSpLocks/>
          </p:cNvCxnSpPr>
          <p:nvPr/>
        </p:nvCxnSpPr>
        <p:spPr>
          <a:xfrm>
            <a:off x="43328" y="1675577"/>
            <a:ext cx="11888684" cy="21599"/>
          </a:xfrm>
          <a:prstGeom prst="straightConnector1">
            <a:avLst/>
          </a:prstGeom>
          <a:ln w="9525" cap="flat" cmpd="sng" algn="ctr">
            <a:solidFill>
              <a:schemeClr val="accent6"/>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02" name="TextBox 101">
            <a:extLst>
              <a:ext uri="{FF2B5EF4-FFF2-40B4-BE49-F238E27FC236}">
                <a16:creationId xmlns:a16="http://schemas.microsoft.com/office/drawing/2014/main" id="{22FB2510-D664-5208-6277-7CC40A11F192}"/>
              </a:ext>
            </a:extLst>
          </p:cNvPr>
          <p:cNvSpPr txBox="1"/>
          <p:nvPr/>
        </p:nvSpPr>
        <p:spPr>
          <a:xfrm>
            <a:off x="9023346" y="1783876"/>
            <a:ext cx="3228087" cy="1277273"/>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FFFFFF"/>
                </a:solidFill>
                <a:effectLst/>
                <a:uLnTx/>
                <a:uFillTx/>
                <a:latin typeface="Verdana"/>
                <a:ea typeface="Verdana"/>
                <a:cs typeface="+mn-cs"/>
              </a:rPr>
              <a:t>Gen AI for CX Foundry : Accelerator for AMS engag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FFFFFF"/>
                </a:solidFill>
                <a:effectLst/>
                <a:uLnTx/>
                <a:uFillTx/>
                <a:latin typeface="Verdana"/>
                <a:ea typeface="Verdana"/>
                <a:cs typeface="+mn-cs"/>
              </a:rPr>
              <a:t>Integration with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1" u="none" strike="noStrike" kern="1200" cap="none" spc="0" normalizeH="0" baseline="0" noProof="0">
                <a:ln>
                  <a:noFill/>
                </a:ln>
                <a:solidFill>
                  <a:srgbClr val="FFFFFF"/>
                </a:solidFill>
                <a:effectLst/>
                <a:uLnTx/>
                <a:uFillTx/>
                <a:latin typeface="Verdana"/>
                <a:ea typeface="Verdana"/>
                <a:cs typeface="+mn-cs"/>
              </a:rPr>
              <a:t>Project Management platform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1" u="none" strike="noStrike" kern="1200" cap="none" spc="0" normalizeH="0" baseline="0" noProof="0">
                <a:ln>
                  <a:noFill/>
                </a:ln>
                <a:solidFill>
                  <a:srgbClr val="FFFFFF"/>
                </a:solidFill>
                <a:effectLst/>
                <a:uLnTx/>
                <a:uFillTx/>
                <a:latin typeface="Verdana"/>
                <a:ea typeface="Verdana"/>
                <a:cs typeface="+mn-cs"/>
              </a:rPr>
              <a:t>Knowledge Management system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1" u="none" strike="noStrike" kern="1200" cap="none" spc="0" normalizeH="0" baseline="0" noProof="0">
                <a:ln>
                  <a:noFill/>
                </a:ln>
                <a:solidFill>
                  <a:srgbClr val="FFFFFF"/>
                </a:solidFill>
                <a:effectLst/>
                <a:uLnTx/>
                <a:uFillTx/>
                <a:latin typeface="Verdana"/>
                <a:ea typeface="Verdana"/>
                <a:cs typeface="+mn-cs"/>
              </a:rPr>
              <a:t>Bug tracking syste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a:ln>
                <a:noFill/>
              </a:ln>
              <a:solidFill>
                <a:srgbClr val="FFFFFF"/>
              </a:solidFill>
              <a:effectLst/>
              <a:uLnTx/>
              <a:uFillTx/>
              <a:latin typeface="Verdana"/>
              <a:ea typeface="Verdana"/>
              <a:cs typeface="+mn-cs"/>
            </a:endParaRPr>
          </a:p>
        </p:txBody>
      </p:sp>
      <p:sp>
        <p:nvSpPr>
          <p:cNvPr id="108" name="TextBox 107">
            <a:extLst>
              <a:ext uri="{FF2B5EF4-FFF2-40B4-BE49-F238E27FC236}">
                <a16:creationId xmlns:a16="http://schemas.microsoft.com/office/drawing/2014/main" id="{CAAE8878-574C-9CFB-9CC0-F6B460AB06D7}"/>
              </a:ext>
            </a:extLst>
          </p:cNvPr>
          <p:cNvSpPr txBox="1"/>
          <p:nvPr/>
        </p:nvSpPr>
        <p:spPr>
          <a:xfrm>
            <a:off x="4953702" y="2780360"/>
            <a:ext cx="2087288" cy="553998"/>
          </a:xfrm>
          <a:prstGeom prst="rect">
            <a:avLst/>
          </a:prstGeom>
          <a:noFill/>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sz="900">
                <a:solidFill>
                  <a:srgbClr val="FFFFFF"/>
                </a:solidFill>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rPr>
              <a:t>It takes a long time to translate and review the knowledge base to resolve the customer's issue.</a:t>
            </a:r>
            <a:endParaRPr kumimoji="0" lang="en-IN"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2" name="TextBox 111">
            <a:extLst>
              <a:ext uri="{FF2B5EF4-FFF2-40B4-BE49-F238E27FC236}">
                <a16:creationId xmlns:a16="http://schemas.microsoft.com/office/drawing/2014/main" id="{BF0D00C6-AF24-5A3D-0AA3-AAFA40E7C44C}"/>
              </a:ext>
            </a:extLst>
          </p:cNvPr>
          <p:cNvSpPr txBox="1"/>
          <p:nvPr/>
        </p:nvSpPr>
        <p:spPr>
          <a:xfrm>
            <a:off x="3776187" y="4819394"/>
            <a:ext cx="2029844" cy="707886"/>
          </a:xfrm>
          <a:prstGeom prst="rect">
            <a:avLst/>
          </a:prstGeom>
          <a:noFill/>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sz="900">
                <a:solidFill>
                  <a:srgbClr val="FFFFFF"/>
                </a:solidFill>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rPr>
              <a:t>Starts searching for the knowledge base related to the categorized issue but discovers it's in a different language.</a:t>
            </a:r>
            <a:endParaRPr kumimoji="0" lang="en-IN"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7" name="TextBox 116">
            <a:extLst>
              <a:ext uri="{FF2B5EF4-FFF2-40B4-BE49-F238E27FC236}">
                <a16:creationId xmlns:a16="http://schemas.microsoft.com/office/drawing/2014/main" id="{F8996A88-F2AC-8073-14CF-09E8CF8B1DF0}"/>
              </a:ext>
            </a:extLst>
          </p:cNvPr>
          <p:cNvSpPr txBox="1"/>
          <p:nvPr/>
        </p:nvSpPr>
        <p:spPr>
          <a:xfrm>
            <a:off x="1304778" y="4812255"/>
            <a:ext cx="1834617" cy="738664"/>
          </a:xfrm>
          <a:prstGeom prst="rect">
            <a:avLst/>
          </a:prstGeom>
          <a:noFill/>
        </p:spPr>
        <p:txBody>
          <a:bodyPr wrap="square" lIns="91440" tIns="45720" rIns="91440" bIns="45720" rtlCol="0" anchor="t">
            <a:spAutoFit/>
          </a:bodyPr>
          <a:lstStyle>
            <a:defPPr>
              <a:defRPr lang="pt-PT"/>
            </a:defPPr>
            <a:lvl1pPr marR="0" lvl="0" indent="0" algn="ctr" fontAlgn="auto">
              <a:lnSpc>
                <a:spcPct val="100000"/>
              </a:lnSpc>
              <a:spcBef>
                <a:spcPts val="0"/>
              </a:spcBef>
              <a:spcAft>
                <a:spcPts val="0"/>
              </a:spcAft>
              <a:buClrTx/>
              <a:buSzTx/>
              <a:buFontTx/>
              <a:buNone/>
              <a:tabLst/>
              <a:defRPr sz="900">
                <a:solidFill>
                  <a:srgbClr val="FFFFFF"/>
                </a:solidFill>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a:ea typeface="+mn-ea"/>
                <a:cs typeface="+mn-cs"/>
              </a:rPr>
              <a:t>Translator </a:t>
            </a:r>
            <a:r>
              <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rPr>
              <a:t>: Translate the issue description into English, ensuring clarity and understanding.</a:t>
            </a:r>
            <a:endParaRPr kumimoji="0" lang="en-IN"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5" name="TextBox 124">
            <a:extLst>
              <a:ext uri="{FF2B5EF4-FFF2-40B4-BE49-F238E27FC236}">
                <a16:creationId xmlns:a16="http://schemas.microsoft.com/office/drawing/2014/main" id="{5D420E56-023F-DBE9-3EBA-7CC5A86A7979}"/>
              </a:ext>
            </a:extLst>
          </p:cNvPr>
          <p:cNvSpPr txBox="1"/>
          <p:nvPr/>
        </p:nvSpPr>
        <p:spPr>
          <a:xfrm>
            <a:off x="2750077" y="2777142"/>
            <a:ext cx="1884037" cy="892552"/>
          </a:xfrm>
          <a:prstGeom prst="rect">
            <a:avLst/>
          </a:prstGeom>
          <a:noFill/>
        </p:spPr>
        <p:txBody>
          <a:bodyPr wrap="square" lIns="91440" tIns="45720" rIns="91440" bIns="45720" rtlCol="0" anchor="t">
            <a:spAutoFit/>
          </a:bodyPr>
          <a:lstStyle>
            <a:defPPr>
              <a:defRPr lang="pt-PT"/>
            </a:defPPr>
            <a:lvl1pPr marR="0" lvl="0" indent="0" algn="ctr" fontAlgn="auto">
              <a:lnSpc>
                <a:spcPct val="100000"/>
              </a:lnSpc>
              <a:spcBef>
                <a:spcPts val="0"/>
              </a:spcBef>
              <a:spcAft>
                <a:spcPts val="0"/>
              </a:spcAft>
              <a:buClrTx/>
              <a:buSzTx/>
              <a:buFontTx/>
              <a:buNone/>
              <a:tabLst/>
              <a:defRPr sz="900">
                <a:solidFill>
                  <a:srgbClr val="FFFFFF"/>
                </a:solidFill>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a:ea typeface="+mn-ea"/>
                <a:cs typeface="+mn-cs"/>
              </a:rPr>
              <a:t>Issue explainer</a:t>
            </a:r>
            <a:r>
              <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rPr>
              <a:t>: The representative is struggling to pinpoint the issue's category before searching the relevant knowledge base in the system.</a:t>
            </a:r>
            <a:endParaRPr kumimoji="0" lang="en-IN"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4219C2F9-FF7D-1663-C28D-0CD3FCE2D3F4}"/>
              </a:ext>
            </a:extLst>
          </p:cNvPr>
          <p:cNvSpPr txBox="1"/>
          <p:nvPr/>
        </p:nvSpPr>
        <p:spPr>
          <a:xfrm>
            <a:off x="6191230" y="4819394"/>
            <a:ext cx="2220129" cy="553998"/>
          </a:xfrm>
          <a:prstGeom prst="rect">
            <a:avLst/>
          </a:prstGeom>
          <a:noFill/>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sz="900">
                <a:solidFill>
                  <a:srgbClr val="FFFFFF"/>
                </a:solidFill>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a:ln>
                  <a:noFill/>
                </a:ln>
                <a:solidFill>
                  <a:srgbClr val="FFFFFF"/>
                </a:solidFill>
                <a:effectLst/>
                <a:uLnTx/>
                <a:uFillTx/>
                <a:latin typeface="Calibri" panose="020F0502020204030204"/>
                <a:ea typeface="+mn-ea"/>
                <a:cs typeface="+mn-cs"/>
              </a:rPr>
              <a:t>Representative now starts looking for the past tickets related to the same issue for resolving the issue faster</a:t>
            </a:r>
          </a:p>
        </p:txBody>
      </p:sp>
      <p:sp>
        <p:nvSpPr>
          <p:cNvPr id="28" name="Oval 27">
            <a:extLst>
              <a:ext uri="{FF2B5EF4-FFF2-40B4-BE49-F238E27FC236}">
                <a16:creationId xmlns:a16="http://schemas.microsoft.com/office/drawing/2014/main" id="{D2B131F2-E583-858E-48AA-2AB78A8287FB}"/>
              </a:ext>
            </a:extLst>
          </p:cNvPr>
          <p:cNvSpPr/>
          <p:nvPr/>
        </p:nvSpPr>
        <p:spPr>
          <a:xfrm>
            <a:off x="8229928" y="3619878"/>
            <a:ext cx="312818" cy="334338"/>
          </a:xfrm>
          <a:prstGeom prst="ellipse">
            <a:avLst/>
          </a:prstGeom>
          <a:solidFill>
            <a:srgbClr val="8FA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30" name="Straight Connector 29">
            <a:extLst>
              <a:ext uri="{FF2B5EF4-FFF2-40B4-BE49-F238E27FC236}">
                <a16:creationId xmlns:a16="http://schemas.microsoft.com/office/drawing/2014/main" id="{95E1EA7C-624D-B1BE-7CDF-223F17A6B996}"/>
              </a:ext>
            </a:extLst>
          </p:cNvPr>
          <p:cNvCxnSpPr>
            <a:cxnSpLocks/>
          </p:cNvCxnSpPr>
          <p:nvPr/>
        </p:nvCxnSpPr>
        <p:spPr>
          <a:xfrm flipH="1">
            <a:off x="8377587" y="3957354"/>
            <a:ext cx="4958" cy="179796"/>
          </a:xfrm>
          <a:prstGeom prst="line">
            <a:avLst/>
          </a:prstGeom>
        </p:spPr>
        <p:style>
          <a:lnRef idx="3">
            <a:schemeClr val="dk1"/>
          </a:lnRef>
          <a:fillRef idx="0">
            <a:schemeClr val="dk1"/>
          </a:fillRef>
          <a:effectRef idx="2">
            <a:schemeClr val="dk1"/>
          </a:effectRef>
          <a:fontRef idx="minor">
            <a:schemeClr val="tx1"/>
          </a:fontRef>
        </p:style>
      </p:cxnSp>
      <p:sp>
        <p:nvSpPr>
          <p:cNvPr id="31" name="TextBox 30">
            <a:extLst>
              <a:ext uri="{FF2B5EF4-FFF2-40B4-BE49-F238E27FC236}">
                <a16:creationId xmlns:a16="http://schemas.microsoft.com/office/drawing/2014/main" id="{1AB42004-D809-67A5-32FC-CB1822053AD3}"/>
              </a:ext>
            </a:extLst>
          </p:cNvPr>
          <p:cNvSpPr txBox="1"/>
          <p:nvPr/>
        </p:nvSpPr>
        <p:spPr>
          <a:xfrm>
            <a:off x="8195360" y="3642383"/>
            <a:ext cx="381953" cy="307777"/>
          </a:xfrm>
          <a:prstGeom prst="rect">
            <a:avLst/>
          </a:prstGeom>
          <a:noFill/>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Calibri" panose="020F0502020204030204"/>
                <a:ea typeface="+mn-ea"/>
                <a:cs typeface="+mn-cs"/>
              </a:rPr>
              <a:t>07</a:t>
            </a:r>
          </a:p>
        </p:txBody>
      </p:sp>
      <p:pic>
        <p:nvPicPr>
          <p:cNvPr id="57" name="Graphic 56" descr="Caret Right outline">
            <a:extLst>
              <a:ext uri="{FF2B5EF4-FFF2-40B4-BE49-F238E27FC236}">
                <a16:creationId xmlns:a16="http://schemas.microsoft.com/office/drawing/2014/main" id="{C9FA5152-8B80-B4BC-FD63-76D8E258D3E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94398" y="3957458"/>
            <a:ext cx="360000" cy="360000"/>
          </a:xfrm>
          <a:prstGeom prst="rect">
            <a:avLst/>
          </a:prstGeom>
        </p:spPr>
      </p:pic>
      <p:sp>
        <p:nvSpPr>
          <p:cNvPr id="13" name="TextBox 12">
            <a:extLst>
              <a:ext uri="{FF2B5EF4-FFF2-40B4-BE49-F238E27FC236}">
                <a16:creationId xmlns:a16="http://schemas.microsoft.com/office/drawing/2014/main" id="{9363A12E-8353-2393-6964-FE49CF8CE403}"/>
              </a:ext>
            </a:extLst>
          </p:cNvPr>
          <p:cNvSpPr txBox="1"/>
          <p:nvPr/>
        </p:nvSpPr>
        <p:spPr>
          <a:xfrm>
            <a:off x="7439866" y="2738133"/>
            <a:ext cx="1892939" cy="738664"/>
          </a:xfrm>
          <a:prstGeom prst="rect">
            <a:avLst/>
          </a:prstGeom>
          <a:noFill/>
        </p:spPr>
        <p:txBody>
          <a:bodyPr wrap="square" lIns="91440" tIns="45720" rIns="91440" bIns="45720" rtlCol="0" anchor="t">
            <a:spAutoFit/>
          </a:bodyPr>
          <a:lstStyle>
            <a:defPPr>
              <a:defRPr lang="pt-PT"/>
            </a:defPPr>
            <a:lvl1pPr marR="0" lvl="0" indent="0" algn="ctr" fontAlgn="auto">
              <a:lnSpc>
                <a:spcPct val="100000"/>
              </a:lnSpc>
              <a:spcBef>
                <a:spcPts val="0"/>
              </a:spcBef>
              <a:spcAft>
                <a:spcPts val="0"/>
              </a:spcAft>
              <a:buClrTx/>
              <a:buSzTx/>
              <a:buFontTx/>
              <a:buNone/>
              <a:tabLst/>
              <a:defRPr sz="900">
                <a:solidFill>
                  <a:srgbClr val="FFFFFF"/>
                </a:solidFill>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Calibri" panose="020F0502020204030204"/>
                <a:ea typeface="+mn-ea"/>
                <a:cs typeface="+mn-cs"/>
              </a:rPr>
              <a:t>RCA Provider</a:t>
            </a:r>
            <a:r>
              <a:rPr kumimoji="0" lang="en-IN" sz="1000" b="0" i="0" u="none" strike="noStrike" kern="1200" cap="none" spc="0" normalizeH="0" baseline="0" noProof="0">
                <a:ln>
                  <a:noFill/>
                </a:ln>
                <a:solidFill>
                  <a:srgbClr val="FFFFFF"/>
                </a:solidFill>
                <a:effectLst/>
                <a:uLnTx/>
                <a:uFillTx/>
                <a:latin typeface="Calibri" panose="020F0502020204030204"/>
                <a:ea typeface="+mn-ea"/>
                <a:cs typeface="+mn-cs"/>
              </a:rPr>
              <a:t> : After complete diagnosis of the past tickets and solutions provided, starts to resolve the customer problem </a:t>
            </a:r>
          </a:p>
        </p:txBody>
      </p:sp>
      <p:sp>
        <p:nvSpPr>
          <p:cNvPr id="14" name="TextBox 13">
            <a:extLst>
              <a:ext uri="{FF2B5EF4-FFF2-40B4-BE49-F238E27FC236}">
                <a16:creationId xmlns:a16="http://schemas.microsoft.com/office/drawing/2014/main" id="{6E909FCC-CD6C-33E4-D241-656B13526FB2}"/>
              </a:ext>
            </a:extLst>
          </p:cNvPr>
          <p:cNvSpPr txBox="1"/>
          <p:nvPr/>
        </p:nvSpPr>
        <p:spPr>
          <a:xfrm>
            <a:off x="8766798" y="4805109"/>
            <a:ext cx="1876674" cy="584775"/>
          </a:xfrm>
          <a:prstGeom prst="rect">
            <a:avLst/>
          </a:prstGeom>
          <a:noFill/>
        </p:spPr>
        <p:txBody>
          <a:bodyPr wrap="square" lIns="91440" tIns="45720" rIns="91440" bIns="45720" rtlCol="0" anchor="t">
            <a:spAutoFit/>
          </a:bodyPr>
          <a:lstStyle>
            <a:defPPr>
              <a:defRPr lang="pt-PT"/>
            </a:defPPr>
            <a:lvl1pPr marR="0" lvl="0" indent="0" algn="ctr" fontAlgn="auto">
              <a:lnSpc>
                <a:spcPct val="100000"/>
              </a:lnSpc>
              <a:spcBef>
                <a:spcPts val="0"/>
              </a:spcBef>
              <a:spcAft>
                <a:spcPts val="0"/>
              </a:spcAft>
              <a:buClrTx/>
              <a:buSzTx/>
              <a:buFontTx/>
              <a:buNone/>
              <a:tabLst/>
              <a:defRPr sz="900">
                <a:solidFill>
                  <a:srgbClr val="FFFFFF"/>
                </a:solidFill>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Calibri" panose="020F0502020204030204"/>
                <a:ea typeface="+mn-ea"/>
                <a:cs typeface="+mn-cs"/>
              </a:rPr>
              <a:t>Apply the fix</a:t>
            </a:r>
            <a:r>
              <a:rPr kumimoji="0" lang="en-IN" sz="1000" b="1" i="0" u="none" strike="noStrike" kern="1200" cap="none" spc="0" normalizeH="0" baseline="0" noProof="0">
                <a:ln>
                  <a:noFill/>
                </a:ln>
                <a:solidFill>
                  <a:srgbClr val="FFFFFF"/>
                </a:solidFill>
                <a:effectLst/>
                <a:uLnTx/>
                <a:uFillTx/>
                <a:latin typeface="Calibri" panose="020F0502020204030204"/>
                <a:ea typeface="+mn-ea"/>
                <a:cs typeface="+mn-cs"/>
              </a:rPr>
              <a:t> : </a:t>
            </a:r>
            <a:r>
              <a:rPr kumimoji="0" lang="en-IN" sz="1000" b="0" i="0" u="none" strike="noStrike" kern="1200" cap="none" spc="0" normalizeH="0" baseline="0" noProof="0">
                <a:ln>
                  <a:noFill/>
                </a:ln>
                <a:solidFill>
                  <a:srgbClr val="FFFFFF"/>
                </a:solidFill>
                <a:effectLst/>
                <a:uLnTx/>
                <a:uFillTx/>
                <a:latin typeface="Calibri" panose="020F0502020204030204"/>
                <a:ea typeface="+mn-ea"/>
                <a:cs typeface="+mn-cs"/>
              </a:rPr>
              <a:t>Solves the issue but took more time than expected and  closes the ticket</a:t>
            </a:r>
          </a:p>
        </p:txBody>
      </p:sp>
      <p:cxnSp>
        <p:nvCxnSpPr>
          <p:cNvPr id="62" name="Straight Connector 61">
            <a:extLst>
              <a:ext uri="{FF2B5EF4-FFF2-40B4-BE49-F238E27FC236}">
                <a16:creationId xmlns:a16="http://schemas.microsoft.com/office/drawing/2014/main" id="{D2B4A02B-DA94-C34E-1ED8-96A47D66C3E2}"/>
              </a:ext>
            </a:extLst>
          </p:cNvPr>
          <p:cNvCxnSpPr>
            <a:cxnSpLocks/>
            <a:endCxn id="76" idx="0"/>
          </p:cNvCxnSpPr>
          <p:nvPr/>
        </p:nvCxnSpPr>
        <p:spPr>
          <a:xfrm>
            <a:off x="2206745" y="4160276"/>
            <a:ext cx="0" cy="221418"/>
          </a:xfrm>
          <a:prstGeom prst="line">
            <a:avLst/>
          </a:prstGeom>
        </p:spPr>
        <p:style>
          <a:lnRef idx="3">
            <a:schemeClr val="dk1"/>
          </a:lnRef>
          <a:fillRef idx="0">
            <a:schemeClr val="dk1"/>
          </a:fillRef>
          <a:effectRef idx="2">
            <a:schemeClr val="dk1"/>
          </a:effectRef>
          <a:fontRef idx="minor">
            <a:schemeClr val="tx1"/>
          </a:fontRef>
        </p:style>
      </p:cxnSp>
      <p:grpSp>
        <p:nvGrpSpPr>
          <p:cNvPr id="94" name="Group 93">
            <a:extLst>
              <a:ext uri="{FF2B5EF4-FFF2-40B4-BE49-F238E27FC236}">
                <a16:creationId xmlns:a16="http://schemas.microsoft.com/office/drawing/2014/main" id="{1A639902-9F7A-B597-2A81-35DBB2841B4F}"/>
              </a:ext>
            </a:extLst>
          </p:cNvPr>
          <p:cNvGrpSpPr/>
          <p:nvPr/>
        </p:nvGrpSpPr>
        <p:grpSpPr>
          <a:xfrm>
            <a:off x="4490986" y="4175622"/>
            <a:ext cx="610314" cy="537736"/>
            <a:chOff x="2492259" y="4234735"/>
            <a:chExt cx="610314" cy="537736"/>
          </a:xfrm>
        </p:grpSpPr>
        <p:cxnSp>
          <p:nvCxnSpPr>
            <p:cNvPr id="96" name="Straight Connector 95">
              <a:extLst>
                <a:ext uri="{FF2B5EF4-FFF2-40B4-BE49-F238E27FC236}">
                  <a16:creationId xmlns:a16="http://schemas.microsoft.com/office/drawing/2014/main" id="{9D7A8639-B265-8CBC-3F97-B9F68D006ABA}"/>
                </a:ext>
              </a:extLst>
            </p:cNvPr>
            <p:cNvCxnSpPr>
              <a:cxnSpLocks/>
              <a:endCxn id="99" idx="0"/>
            </p:cNvCxnSpPr>
            <p:nvPr/>
          </p:nvCxnSpPr>
          <p:spPr>
            <a:xfrm>
              <a:off x="2797416" y="4234735"/>
              <a:ext cx="0" cy="221418"/>
            </a:xfrm>
            <a:prstGeom prst="line">
              <a:avLst/>
            </a:prstGeom>
          </p:spPr>
          <p:style>
            <a:lnRef idx="3">
              <a:schemeClr val="dk1"/>
            </a:lnRef>
            <a:fillRef idx="0">
              <a:schemeClr val="dk1"/>
            </a:fillRef>
            <a:effectRef idx="2">
              <a:schemeClr val="dk1"/>
            </a:effectRef>
            <a:fontRef idx="minor">
              <a:schemeClr val="tx1"/>
            </a:fontRef>
          </p:style>
        </p:cxnSp>
        <p:sp>
          <p:nvSpPr>
            <p:cNvPr id="97" name="Oval 96">
              <a:extLst>
                <a:ext uri="{FF2B5EF4-FFF2-40B4-BE49-F238E27FC236}">
                  <a16:creationId xmlns:a16="http://schemas.microsoft.com/office/drawing/2014/main" id="{7A41460E-84CC-B301-F0A4-BE884DDBB78D}"/>
                </a:ext>
              </a:extLst>
            </p:cNvPr>
            <p:cNvSpPr/>
            <p:nvPr/>
          </p:nvSpPr>
          <p:spPr>
            <a:xfrm>
              <a:off x="2635973" y="4438133"/>
              <a:ext cx="312818" cy="334338"/>
            </a:xfrm>
            <a:prstGeom prst="ellipse">
              <a:avLst/>
            </a:prstGeom>
            <a:solidFill>
              <a:srgbClr val="A9D1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9" name="TextBox 98">
              <a:extLst>
                <a:ext uri="{FF2B5EF4-FFF2-40B4-BE49-F238E27FC236}">
                  <a16:creationId xmlns:a16="http://schemas.microsoft.com/office/drawing/2014/main" id="{E0796BAA-109B-3150-EBD4-97D1A40286B1}"/>
                </a:ext>
              </a:extLst>
            </p:cNvPr>
            <p:cNvSpPr txBox="1"/>
            <p:nvPr/>
          </p:nvSpPr>
          <p:spPr>
            <a:xfrm>
              <a:off x="2492259" y="4456153"/>
              <a:ext cx="61031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Calibri" panose="020F0502020204030204"/>
                  <a:ea typeface="+mn-ea"/>
                  <a:cs typeface="+mn-cs"/>
                </a:rPr>
                <a:t>04</a:t>
              </a:r>
            </a:p>
          </p:txBody>
        </p:sp>
      </p:grpSp>
      <p:grpSp>
        <p:nvGrpSpPr>
          <p:cNvPr id="105" name="Group 104">
            <a:extLst>
              <a:ext uri="{FF2B5EF4-FFF2-40B4-BE49-F238E27FC236}">
                <a16:creationId xmlns:a16="http://schemas.microsoft.com/office/drawing/2014/main" id="{E6FD5E12-996C-FA55-1CC8-48CCCC2801ED}"/>
              </a:ext>
            </a:extLst>
          </p:cNvPr>
          <p:cNvGrpSpPr/>
          <p:nvPr/>
        </p:nvGrpSpPr>
        <p:grpSpPr>
          <a:xfrm>
            <a:off x="1054637" y="3620954"/>
            <a:ext cx="381953" cy="517272"/>
            <a:chOff x="2306918" y="3644731"/>
            <a:chExt cx="381953" cy="517272"/>
          </a:xfrm>
        </p:grpSpPr>
        <p:sp>
          <p:nvSpPr>
            <p:cNvPr id="106" name="Oval 105">
              <a:extLst>
                <a:ext uri="{FF2B5EF4-FFF2-40B4-BE49-F238E27FC236}">
                  <a16:creationId xmlns:a16="http://schemas.microsoft.com/office/drawing/2014/main" id="{351B55CE-C631-C685-4F88-1D3321D543DE}"/>
                </a:ext>
              </a:extLst>
            </p:cNvPr>
            <p:cNvSpPr/>
            <p:nvPr/>
          </p:nvSpPr>
          <p:spPr>
            <a:xfrm>
              <a:off x="2341486" y="3644731"/>
              <a:ext cx="312818" cy="334338"/>
            </a:xfrm>
            <a:prstGeom prst="ellipse">
              <a:avLst/>
            </a:prstGeom>
            <a:solidFill>
              <a:srgbClr val="A9D1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7" name="Group 106">
              <a:extLst>
                <a:ext uri="{FF2B5EF4-FFF2-40B4-BE49-F238E27FC236}">
                  <a16:creationId xmlns:a16="http://schemas.microsoft.com/office/drawing/2014/main" id="{D9C3421D-B2EF-1D90-DB61-4F10D6A3A891}"/>
                </a:ext>
              </a:extLst>
            </p:cNvPr>
            <p:cNvGrpSpPr/>
            <p:nvPr/>
          </p:nvGrpSpPr>
          <p:grpSpPr>
            <a:xfrm>
              <a:off x="2306918" y="3667236"/>
              <a:ext cx="381953" cy="494767"/>
              <a:chOff x="1789360" y="3772692"/>
              <a:chExt cx="381953" cy="494767"/>
            </a:xfrm>
          </p:grpSpPr>
          <p:cxnSp>
            <p:nvCxnSpPr>
              <p:cNvPr id="109" name="Straight Connector 108">
                <a:extLst>
                  <a:ext uri="{FF2B5EF4-FFF2-40B4-BE49-F238E27FC236}">
                    <a16:creationId xmlns:a16="http://schemas.microsoft.com/office/drawing/2014/main" id="{E3534FE0-C4A9-AE8C-704C-056907E275FD}"/>
                  </a:ext>
                </a:extLst>
              </p:cNvPr>
              <p:cNvCxnSpPr>
                <a:cxnSpLocks/>
              </p:cNvCxnSpPr>
              <p:nvPr/>
            </p:nvCxnSpPr>
            <p:spPr>
              <a:xfrm flipH="1">
                <a:off x="1971587" y="4087663"/>
                <a:ext cx="4958" cy="179796"/>
              </a:xfrm>
              <a:prstGeom prst="line">
                <a:avLst/>
              </a:prstGeom>
            </p:spPr>
            <p:style>
              <a:lnRef idx="3">
                <a:schemeClr val="dk1"/>
              </a:lnRef>
              <a:fillRef idx="0">
                <a:schemeClr val="dk1"/>
              </a:fillRef>
              <a:effectRef idx="2">
                <a:schemeClr val="dk1"/>
              </a:effectRef>
              <a:fontRef idx="minor">
                <a:schemeClr val="tx1"/>
              </a:fontRef>
            </p:style>
          </p:cxnSp>
          <p:sp>
            <p:nvSpPr>
              <p:cNvPr id="110" name="TextBox 109">
                <a:extLst>
                  <a:ext uri="{FF2B5EF4-FFF2-40B4-BE49-F238E27FC236}">
                    <a16:creationId xmlns:a16="http://schemas.microsoft.com/office/drawing/2014/main" id="{1E132433-685D-C2A2-8440-263D69BD338F}"/>
                  </a:ext>
                </a:extLst>
              </p:cNvPr>
              <p:cNvSpPr txBox="1"/>
              <p:nvPr/>
            </p:nvSpPr>
            <p:spPr>
              <a:xfrm>
                <a:off x="1789360" y="3772692"/>
                <a:ext cx="381953" cy="307777"/>
              </a:xfrm>
              <a:prstGeom prst="rect">
                <a:avLst/>
              </a:prstGeom>
              <a:noFill/>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Calibri" panose="020F0502020204030204"/>
                    <a:ea typeface="+mn-ea"/>
                    <a:cs typeface="+mn-cs"/>
                  </a:rPr>
                  <a:t>01</a:t>
                </a:r>
              </a:p>
            </p:txBody>
          </p:sp>
        </p:grpSp>
      </p:grpSp>
      <p:grpSp>
        <p:nvGrpSpPr>
          <p:cNvPr id="111" name="Group 110">
            <a:extLst>
              <a:ext uri="{FF2B5EF4-FFF2-40B4-BE49-F238E27FC236}">
                <a16:creationId xmlns:a16="http://schemas.microsoft.com/office/drawing/2014/main" id="{88377165-358F-5DEB-5FE9-2F934FE4343D}"/>
              </a:ext>
            </a:extLst>
          </p:cNvPr>
          <p:cNvGrpSpPr/>
          <p:nvPr/>
        </p:nvGrpSpPr>
        <p:grpSpPr>
          <a:xfrm>
            <a:off x="6936671" y="4152912"/>
            <a:ext cx="610314" cy="537736"/>
            <a:chOff x="2492259" y="4234735"/>
            <a:chExt cx="610314" cy="537736"/>
          </a:xfrm>
        </p:grpSpPr>
        <p:cxnSp>
          <p:nvCxnSpPr>
            <p:cNvPr id="113" name="Straight Connector 112">
              <a:extLst>
                <a:ext uri="{FF2B5EF4-FFF2-40B4-BE49-F238E27FC236}">
                  <a16:creationId xmlns:a16="http://schemas.microsoft.com/office/drawing/2014/main" id="{03946D8D-4130-7A7F-8A21-CBFA224CD5B9}"/>
                </a:ext>
              </a:extLst>
            </p:cNvPr>
            <p:cNvCxnSpPr>
              <a:cxnSpLocks/>
              <a:endCxn id="115" idx="0"/>
            </p:cNvCxnSpPr>
            <p:nvPr/>
          </p:nvCxnSpPr>
          <p:spPr>
            <a:xfrm>
              <a:off x="2797416" y="4234735"/>
              <a:ext cx="0" cy="221418"/>
            </a:xfrm>
            <a:prstGeom prst="line">
              <a:avLst/>
            </a:prstGeom>
          </p:spPr>
          <p:style>
            <a:lnRef idx="3">
              <a:schemeClr val="dk1"/>
            </a:lnRef>
            <a:fillRef idx="0">
              <a:schemeClr val="dk1"/>
            </a:fillRef>
            <a:effectRef idx="2">
              <a:schemeClr val="dk1"/>
            </a:effectRef>
            <a:fontRef idx="minor">
              <a:schemeClr val="tx1"/>
            </a:fontRef>
          </p:style>
        </p:cxnSp>
        <p:sp>
          <p:nvSpPr>
            <p:cNvPr id="114" name="Oval 113">
              <a:extLst>
                <a:ext uri="{FF2B5EF4-FFF2-40B4-BE49-F238E27FC236}">
                  <a16:creationId xmlns:a16="http://schemas.microsoft.com/office/drawing/2014/main" id="{9AAF1594-E414-5021-348F-09BD6CF21CB2}"/>
                </a:ext>
              </a:extLst>
            </p:cNvPr>
            <p:cNvSpPr/>
            <p:nvPr/>
          </p:nvSpPr>
          <p:spPr>
            <a:xfrm>
              <a:off x="2635973" y="4438133"/>
              <a:ext cx="312818" cy="334338"/>
            </a:xfrm>
            <a:prstGeom prst="ellipse">
              <a:avLst/>
            </a:prstGeom>
            <a:solidFill>
              <a:srgbClr val="A9D1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5" name="TextBox 114">
              <a:extLst>
                <a:ext uri="{FF2B5EF4-FFF2-40B4-BE49-F238E27FC236}">
                  <a16:creationId xmlns:a16="http://schemas.microsoft.com/office/drawing/2014/main" id="{CECA2230-B1C5-E819-C226-C47588A6AAE2}"/>
                </a:ext>
              </a:extLst>
            </p:cNvPr>
            <p:cNvSpPr txBox="1"/>
            <p:nvPr/>
          </p:nvSpPr>
          <p:spPr>
            <a:xfrm>
              <a:off x="2492259" y="4456153"/>
              <a:ext cx="61031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Calibri" panose="020F0502020204030204"/>
                  <a:ea typeface="+mn-ea"/>
                  <a:cs typeface="+mn-cs"/>
                </a:rPr>
                <a:t>06</a:t>
              </a:r>
            </a:p>
          </p:txBody>
        </p:sp>
      </p:grpSp>
      <p:cxnSp>
        <p:nvCxnSpPr>
          <p:cNvPr id="119" name="Straight Connector 118">
            <a:extLst>
              <a:ext uri="{FF2B5EF4-FFF2-40B4-BE49-F238E27FC236}">
                <a16:creationId xmlns:a16="http://schemas.microsoft.com/office/drawing/2014/main" id="{A495B5E3-E1F5-A65B-F9ED-3831B3E30837}"/>
              </a:ext>
            </a:extLst>
          </p:cNvPr>
          <p:cNvCxnSpPr>
            <a:cxnSpLocks/>
            <a:endCxn id="122" idx="0"/>
          </p:cNvCxnSpPr>
          <p:nvPr/>
        </p:nvCxnSpPr>
        <p:spPr>
          <a:xfrm>
            <a:off x="9677444" y="4141494"/>
            <a:ext cx="0" cy="221418"/>
          </a:xfrm>
          <a:prstGeom prst="line">
            <a:avLst/>
          </a:prstGeom>
        </p:spPr>
        <p:style>
          <a:lnRef idx="3">
            <a:schemeClr val="dk1"/>
          </a:lnRef>
          <a:fillRef idx="0">
            <a:schemeClr val="dk1"/>
          </a:fillRef>
          <a:effectRef idx="2">
            <a:schemeClr val="dk1"/>
          </a:effectRef>
          <a:fontRef idx="minor">
            <a:schemeClr val="tx1"/>
          </a:fontRef>
        </p:style>
      </p:cxnSp>
      <p:sp>
        <p:nvSpPr>
          <p:cNvPr id="120" name="Oval 119">
            <a:extLst>
              <a:ext uri="{FF2B5EF4-FFF2-40B4-BE49-F238E27FC236}">
                <a16:creationId xmlns:a16="http://schemas.microsoft.com/office/drawing/2014/main" id="{3B774549-9C18-D996-F708-6BF56BFD2958}"/>
              </a:ext>
            </a:extLst>
          </p:cNvPr>
          <p:cNvSpPr/>
          <p:nvPr/>
        </p:nvSpPr>
        <p:spPr>
          <a:xfrm>
            <a:off x="9526070" y="4355133"/>
            <a:ext cx="312818" cy="334338"/>
          </a:xfrm>
          <a:prstGeom prst="ellipse">
            <a:avLst/>
          </a:prstGeom>
          <a:solidFill>
            <a:srgbClr val="8FA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2" name="TextBox 121">
            <a:extLst>
              <a:ext uri="{FF2B5EF4-FFF2-40B4-BE49-F238E27FC236}">
                <a16:creationId xmlns:a16="http://schemas.microsoft.com/office/drawing/2014/main" id="{0E7B97BF-6523-4C08-8FA8-6543DF1644E4}"/>
              </a:ext>
            </a:extLst>
          </p:cNvPr>
          <p:cNvSpPr txBox="1"/>
          <p:nvPr/>
        </p:nvSpPr>
        <p:spPr>
          <a:xfrm>
            <a:off x="9372287" y="4362912"/>
            <a:ext cx="61031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Calibri" panose="020F0502020204030204"/>
                <a:ea typeface="+mn-ea"/>
                <a:cs typeface="+mn-cs"/>
              </a:rPr>
              <a:t>08</a:t>
            </a:r>
          </a:p>
        </p:txBody>
      </p:sp>
      <p:sp>
        <p:nvSpPr>
          <p:cNvPr id="123" name="Arrow: Chevron 122">
            <a:extLst>
              <a:ext uri="{FF2B5EF4-FFF2-40B4-BE49-F238E27FC236}">
                <a16:creationId xmlns:a16="http://schemas.microsoft.com/office/drawing/2014/main" id="{5819E3EA-A27E-2470-A59A-C55DD0833A67}"/>
              </a:ext>
            </a:extLst>
          </p:cNvPr>
          <p:cNvSpPr/>
          <p:nvPr/>
        </p:nvSpPr>
        <p:spPr>
          <a:xfrm>
            <a:off x="2714198" y="1174219"/>
            <a:ext cx="1512000" cy="360000"/>
          </a:xfrm>
          <a:prstGeom prst="chevr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Arrow: Chevron 123">
            <a:extLst>
              <a:ext uri="{FF2B5EF4-FFF2-40B4-BE49-F238E27FC236}">
                <a16:creationId xmlns:a16="http://schemas.microsoft.com/office/drawing/2014/main" id="{46FB6C6F-1334-AC4E-F258-3CCB28B947FD}"/>
              </a:ext>
            </a:extLst>
          </p:cNvPr>
          <p:cNvSpPr/>
          <p:nvPr/>
        </p:nvSpPr>
        <p:spPr>
          <a:xfrm>
            <a:off x="4150569" y="1174219"/>
            <a:ext cx="3204000" cy="360000"/>
          </a:xfrm>
          <a:prstGeom prst="chevr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Arrow: Chevron 125">
            <a:extLst>
              <a:ext uri="{FF2B5EF4-FFF2-40B4-BE49-F238E27FC236}">
                <a16:creationId xmlns:a16="http://schemas.microsoft.com/office/drawing/2014/main" id="{E25463FB-C882-622F-DF48-65A97CCCE277}"/>
              </a:ext>
            </a:extLst>
          </p:cNvPr>
          <p:cNvSpPr/>
          <p:nvPr/>
        </p:nvSpPr>
        <p:spPr>
          <a:xfrm>
            <a:off x="7283522" y="1174219"/>
            <a:ext cx="2484000" cy="360000"/>
          </a:xfrm>
          <a:prstGeom prst="chevr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Arrow: Chevron 126">
            <a:extLst>
              <a:ext uri="{FF2B5EF4-FFF2-40B4-BE49-F238E27FC236}">
                <a16:creationId xmlns:a16="http://schemas.microsoft.com/office/drawing/2014/main" id="{CAB83A91-7718-C710-5210-2FFCE4F304CD}"/>
              </a:ext>
            </a:extLst>
          </p:cNvPr>
          <p:cNvSpPr/>
          <p:nvPr/>
        </p:nvSpPr>
        <p:spPr>
          <a:xfrm>
            <a:off x="9705135" y="1174219"/>
            <a:ext cx="1944000" cy="360000"/>
          </a:xfrm>
          <a:prstGeom prst="chevr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8" name="Graphic 127" descr="Caret Right outline">
            <a:extLst>
              <a:ext uri="{FF2B5EF4-FFF2-40B4-BE49-F238E27FC236}">
                <a16:creationId xmlns:a16="http://schemas.microsoft.com/office/drawing/2014/main" id="{C15B0ADD-ED51-DF35-5FE1-A43D50134D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04462" y="3956965"/>
            <a:ext cx="360000" cy="360000"/>
          </a:xfrm>
          <a:prstGeom prst="rect">
            <a:avLst/>
          </a:prstGeom>
        </p:spPr>
      </p:pic>
      <p:sp>
        <p:nvSpPr>
          <p:cNvPr id="129" name="TextBox 128">
            <a:extLst>
              <a:ext uri="{FF2B5EF4-FFF2-40B4-BE49-F238E27FC236}">
                <a16:creationId xmlns:a16="http://schemas.microsoft.com/office/drawing/2014/main" id="{207CC691-B083-642B-9E1E-6F5EB7DA9232}"/>
              </a:ext>
            </a:extLst>
          </p:cNvPr>
          <p:cNvSpPr txBox="1"/>
          <p:nvPr/>
        </p:nvSpPr>
        <p:spPr>
          <a:xfrm>
            <a:off x="2903486" y="1218624"/>
            <a:ext cx="1295492"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white"/>
                </a:solidFill>
                <a:effectLst/>
                <a:uLnTx/>
                <a:uFillTx/>
                <a:latin typeface="Calibri" panose="020F0502020204030204"/>
                <a:ea typeface="+mn-ea"/>
                <a:cs typeface="+mn-cs"/>
              </a:rPr>
              <a:t>Categorization</a:t>
            </a:r>
          </a:p>
        </p:txBody>
      </p:sp>
      <p:sp>
        <p:nvSpPr>
          <p:cNvPr id="130" name="TextBox 129">
            <a:extLst>
              <a:ext uri="{FF2B5EF4-FFF2-40B4-BE49-F238E27FC236}">
                <a16:creationId xmlns:a16="http://schemas.microsoft.com/office/drawing/2014/main" id="{731728B5-95AA-D036-AC07-CE809358B806}"/>
              </a:ext>
            </a:extLst>
          </p:cNvPr>
          <p:cNvSpPr txBox="1"/>
          <p:nvPr/>
        </p:nvSpPr>
        <p:spPr>
          <a:xfrm>
            <a:off x="4970540" y="1225130"/>
            <a:ext cx="1813758"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white"/>
                </a:solidFill>
                <a:effectLst/>
                <a:uLnTx/>
                <a:uFillTx/>
                <a:latin typeface="Calibri" panose="020F0502020204030204"/>
                <a:ea typeface="+mn-ea"/>
                <a:cs typeface="+mn-cs"/>
              </a:rPr>
              <a:t>Translation and research</a:t>
            </a:r>
          </a:p>
        </p:txBody>
      </p:sp>
      <p:sp>
        <p:nvSpPr>
          <p:cNvPr id="131" name="TextBox 130">
            <a:extLst>
              <a:ext uri="{FF2B5EF4-FFF2-40B4-BE49-F238E27FC236}">
                <a16:creationId xmlns:a16="http://schemas.microsoft.com/office/drawing/2014/main" id="{8A630370-0340-14E7-EB42-DF82FC7454A7}"/>
              </a:ext>
            </a:extLst>
          </p:cNvPr>
          <p:cNvSpPr txBox="1"/>
          <p:nvPr/>
        </p:nvSpPr>
        <p:spPr>
          <a:xfrm>
            <a:off x="7834054" y="1222757"/>
            <a:ext cx="1813758"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white"/>
                </a:solidFill>
                <a:effectLst/>
                <a:uLnTx/>
                <a:uFillTx/>
                <a:latin typeface="Calibri" panose="020F0502020204030204"/>
                <a:ea typeface="+mn-ea"/>
                <a:cs typeface="+mn-cs"/>
              </a:rPr>
              <a:t>Identifying similar defects</a:t>
            </a:r>
          </a:p>
        </p:txBody>
      </p:sp>
      <p:sp>
        <p:nvSpPr>
          <p:cNvPr id="133" name="TextBox 132">
            <a:extLst>
              <a:ext uri="{FF2B5EF4-FFF2-40B4-BE49-F238E27FC236}">
                <a16:creationId xmlns:a16="http://schemas.microsoft.com/office/drawing/2014/main" id="{A2E0A083-E8C7-9906-26A3-AE87DB38ACB3}"/>
              </a:ext>
            </a:extLst>
          </p:cNvPr>
          <p:cNvSpPr txBox="1"/>
          <p:nvPr/>
        </p:nvSpPr>
        <p:spPr>
          <a:xfrm>
            <a:off x="10074578" y="1232932"/>
            <a:ext cx="1695785" cy="2616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a:ln>
                  <a:noFill/>
                </a:ln>
                <a:solidFill>
                  <a:prstClr val="white"/>
                </a:solidFill>
                <a:effectLst/>
                <a:uLnTx/>
                <a:uFillTx/>
                <a:latin typeface="Calibri" panose="020F0502020204030204"/>
                <a:ea typeface="+mn-ea"/>
                <a:cs typeface="+mn-cs"/>
              </a:rPr>
              <a:t>Fixing the issue</a:t>
            </a:r>
          </a:p>
        </p:txBody>
      </p:sp>
      <p:cxnSp>
        <p:nvCxnSpPr>
          <p:cNvPr id="142" name="Straight Arrow Connector 141">
            <a:extLst>
              <a:ext uri="{FF2B5EF4-FFF2-40B4-BE49-F238E27FC236}">
                <a16:creationId xmlns:a16="http://schemas.microsoft.com/office/drawing/2014/main" id="{9D34CC31-15D0-00C4-F12E-3087B46A692E}"/>
              </a:ext>
            </a:extLst>
          </p:cNvPr>
          <p:cNvCxnSpPr>
            <a:cxnSpLocks/>
          </p:cNvCxnSpPr>
          <p:nvPr/>
        </p:nvCxnSpPr>
        <p:spPr>
          <a:xfrm>
            <a:off x="127786" y="5962640"/>
            <a:ext cx="11888684" cy="21599"/>
          </a:xfrm>
          <a:prstGeom prst="straightConnector1">
            <a:avLst/>
          </a:prstGeom>
          <a:ln w="9525" cap="flat" cmpd="sng" algn="ctr">
            <a:solidFill>
              <a:schemeClr val="accent6"/>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7" name="Oval 6">
            <a:extLst>
              <a:ext uri="{FF2B5EF4-FFF2-40B4-BE49-F238E27FC236}">
                <a16:creationId xmlns:a16="http://schemas.microsoft.com/office/drawing/2014/main" id="{EC50AF0F-EF09-88A7-0C0A-B7EB8449F8C8}"/>
              </a:ext>
            </a:extLst>
          </p:cNvPr>
          <p:cNvSpPr/>
          <p:nvPr/>
        </p:nvSpPr>
        <p:spPr>
          <a:xfrm>
            <a:off x="8986966" y="1815569"/>
            <a:ext cx="236474" cy="252742"/>
          </a:xfrm>
          <a:prstGeom prst="ellipse">
            <a:avLst/>
          </a:prstGeom>
          <a:solidFill>
            <a:srgbClr val="8FA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7A4D7122-F910-E2CB-320C-812400C523AC}"/>
              </a:ext>
            </a:extLst>
          </p:cNvPr>
          <p:cNvSpPr/>
          <p:nvPr/>
        </p:nvSpPr>
        <p:spPr>
          <a:xfrm>
            <a:off x="2086265" y="4360199"/>
            <a:ext cx="272087" cy="326559"/>
          </a:xfrm>
          <a:prstGeom prst="ellipse">
            <a:avLst/>
          </a:prstGeom>
          <a:solidFill>
            <a:srgbClr val="8FA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6" name="TextBox 75">
            <a:extLst>
              <a:ext uri="{FF2B5EF4-FFF2-40B4-BE49-F238E27FC236}">
                <a16:creationId xmlns:a16="http://schemas.microsoft.com/office/drawing/2014/main" id="{55D9CD6D-3556-3D4D-57E1-732E586DFC63}"/>
              </a:ext>
            </a:extLst>
          </p:cNvPr>
          <p:cNvSpPr txBox="1"/>
          <p:nvPr/>
        </p:nvSpPr>
        <p:spPr>
          <a:xfrm>
            <a:off x="1901588" y="4381694"/>
            <a:ext cx="61031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Calibri" panose="020F0502020204030204"/>
                <a:ea typeface="+mn-ea"/>
                <a:cs typeface="+mn-cs"/>
              </a:rPr>
              <a:t>02</a:t>
            </a:r>
          </a:p>
        </p:txBody>
      </p:sp>
      <p:sp>
        <p:nvSpPr>
          <p:cNvPr id="9" name="Oval 8">
            <a:extLst>
              <a:ext uri="{FF2B5EF4-FFF2-40B4-BE49-F238E27FC236}">
                <a16:creationId xmlns:a16="http://schemas.microsoft.com/office/drawing/2014/main" id="{D508054E-5971-EC23-3C48-6887CFEA6090}"/>
              </a:ext>
            </a:extLst>
          </p:cNvPr>
          <p:cNvSpPr/>
          <p:nvPr/>
        </p:nvSpPr>
        <p:spPr>
          <a:xfrm>
            <a:off x="3455620" y="3633829"/>
            <a:ext cx="292075" cy="312168"/>
          </a:xfrm>
          <a:prstGeom prst="ellipse">
            <a:avLst/>
          </a:prstGeom>
          <a:solidFill>
            <a:srgbClr val="8FA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0F55202F-89DF-F799-7D3D-5A462DCB341B}"/>
              </a:ext>
            </a:extLst>
          </p:cNvPr>
          <p:cNvGrpSpPr/>
          <p:nvPr/>
        </p:nvGrpSpPr>
        <p:grpSpPr>
          <a:xfrm>
            <a:off x="3400850" y="3648249"/>
            <a:ext cx="381953" cy="494767"/>
            <a:chOff x="1789360" y="3772692"/>
            <a:chExt cx="381953" cy="494767"/>
          </a:xfrm>
        </p:grpSpPr>
        <p:cxnSp>
          <p:nvCxnSpPr>
            <p:cNvPr id="85" name="Straight Connector 84">
              <a:extLst>
                <a:ext uri="{FF2B5EF4-FFF2-40B4-BE49-F238E27FC236}">
                  <a16:creationId xmlns:a16="http://schemas.microsoft.com/office/drawing/2014/main" id="{17599956-AACD-D403-9DE1-17ADECE8C2B9}"/>
                </a:ext>
              </a:extLst>
            </p:cNvPr>
            <p:cNvCxnSpPr>
              <a:cxnSpLocks/>
            </p:cNvCxnSpPr>
            <p:nvPr/>
          </p:nvCxnSpPr>
          <p:spPr>
            <a:xfrm flipH="1">
              <a:off x="1971587" y="4087663"/>
              <a:ext cx="4958" cy="179796"/>
            </a:xfrm>
            <a:prstGeom prst="line">
              <a:avLst/>
            </a:prstGeom>
          </p:spPr>
          <p:style>
            <a:lnRef idx="3">
              <a:schemeClr val="dk1"/>
            </a:lnRef>
            <a:fillRef idx="0">
              <a:schemeClr val="dk1"/>
            </a:fillRef>
            <a:effectRef idx="2">
              <a:schemeClr val="dk1"/>
            </a:effectRef>
            <a:fontRef idx="minor">
              <a:schemeClr val="tx1"/>
            </a:fontRef>
          </p:style>
        </p:cxnSp>
        <p:sp>
          <p:nvSpPr>
            <p:cNvPr id="90" name="TextBox 89">
              <a:extLst>
                <a:ext uri="{FF2B5EF4-FFF2-40B4-BE49-F238E27FC236}">
                  <a16:creationId xmlns:a16="http://schemas.microsoft.com/office/drawing/2014/main" id="{C5B27FC2-D3D1-198D-B4C4-E25D54EDADC0}"/>
                </a:ext>
              </a:extLst>
            </p:cNvPr>
            <p:cNvSpPr txBox="1"/>
            <p:nvPr/>
          </p:nvSpPr>
          <p:spPr>
            <a:xfrm>
              <a:off x="1789360" y="3772692"/>
              <a:ext cx="381953" cy="307777"/>
            </a:xfrm>
            <a:prstGeom prst="rect">
              <a:avLst/>
            </a:prstGeom>
            <a:noFill/>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Calibri" panose="020F0502020204030204"/>
                  <a:ea typeface="+mn-ea"/>
                  <a:cs typeface="+mn-cs"/>
                </a:rPr>
                <a:t>03</a:t>
              </a:r>
            </a:p>
          </p:txBody>
        </p:sp>
      </p:grpSp>
      <p:grpSp>
        <p:nvGrpSpPr>
          <p:cNvPr id="19" name="Group 18">
            <a:extLst>
              <a:ext uri="{FF2B5EF4-FFF2-40B4-BE49-F238E27FC236}">
                <a16:creationId xmlns:a16="http://schemas.microsoft.com/office/drawing/2014/main" id="{A6A8E85C-CA95-63EB-AC1E-D135E9923576}"/>
              </a:ext>
            </a:extLst>
          </p:cNvPr>
          <p:cNvGrpSpPr/>
          <p:nvPr/>
        </p:nvGrpSpPr>
        <p:grpSpPr>
          <a:xfrm>
            <a:off x="5895391" y="3633829"/>
            <a:ext cx="381953" cy="509187"/>
            <a:chOff x="13231617" y="3808271"/>
            <a:chExt cx="381953" cy="509187"/>
          </a:xfrm>
        </p:grpSpPr>
        <p:sp>
          <p:nvSpPr>
            <p:cNvPr id="10" name="Oval 9">
              <a:extLst>
                <a:ext uri="{FF2B5EF4-FFF2-40B4-BE49-F238E27FC236}">
                  <a16:creationId xmlns:a16="http://schemas.microsoft.com/office/drawing/2014/main" id="{5E2D92DC-59CA-80CB-19F5-CF54E81D4D50}"/>
                </a:ext>
              </a:extLst>
            </p:cNvPr>
            <p:cNvSpPr/>
            <p:nvPr/>
          </p:nvSpPr>
          <p:spPr>
            <a:xfrm>
              <a:off x="13286387" y="3808271"/>
              <a:ext cx="292075" cy="312168"/>
            </a:xfrm>
            <a:prstGeom prst="ellipse">
              <a:avLst/>
            </a:prstGeom>
            <a:solidFill>
              <a:srgbClr val="8FA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7683B448-5118-EB6B-91EA-1072FA731211}"/>
                </a:ext>
              </a:extLst>
            </p:cNvPr>
            <p:cNvGrpSpPr/>
            <p:nvPr/>
          </p:nvGrpSpPr>
          <p:grpSpPr>
            <a:xfrm>
              <a:off x="13231617" y="3822691"/>
              <a:ext cx="381953" cy="494767"/>
              <a:chOff x="1789360" y="3772692"/>
              <a:chExt cx="381953" cy="494767"/>
            </a:xfrm>
          </p:grpSpPr>
          <p:cxnSp>
            <p:nvCxnSpPr>
              <p:cNvPr id="16" name="Straight Connector 15">
                <a:extLst>
                  <a:ext uri="{FF2B5EF4-FFF2-40B4-BE49-F238E27FC236}">
                    <a16:creationId xmlns:a16="http://schemas.microsoft.com/office/drawing/2014/main" id="{788DA8F7-61B9-B0F8-5A27-F59EA8DFA41E}"/>
                  </a:ext>
                </a:extLst>
              </p:cNvPr>
              <p:cNvCxnSpPr>
                <a:cxnSpLocks/>
              </p:cNvCxnSpPr>
              <p:nvPr/>
            </p:nvCxnSpPr>
            <p:spPr>
              <a:xfrm flipH="1">
                <a:off x="1971587" y="4087663"/>
                <a:ext cx="4958" cy="179796"/>
              </a:xfrm>
              <a:prstGeom prst="line">
                <a:avLst/>
              </a:prstGeom>
            </p:spPr>
            <p:style>
              <a:lnRef idx="3">
                <a:schemeClr val="dk1"/>
              </a:lnRef>
              <a:fillRef idx="0">
                <a:schemeClr val="dk1"/>
              </a:fillRef>
              <a:effectRef idx="2">
                <a:schemeClr val="dk1"/>
              </a:effectRef>
              <a:fontRef idx="minor">
                <a:schemeClr val="tx1"/>
              </a:fontRef>
            </p:style>
          </p:cxnSp>
          <p:sp>
            <p:nvSpPr>
              <p:cNvPr id="18" name="TextBox 17">
                <a:extLst>
                  <a:ext uri="{FF2B5EF4-FFF2-40B4-BE49-F238E27FC236}">
                    <a16:creationId xmlns:a16="http://schemas.microsoft.com/office/drawing/2014/main" id="{F30223B8-4D46-F512-8425-3D1147B270FF}"/>
                  </a:ext>
                </a:extLst>
              </p:cNvPr>
              <p:cNvSpPr txBox="1"/>
              <p:nvPr/>
            </p:nvSpPr>
            <p:spPr>
              <a:xfrm>
                <a:off x="1789360" y="3772692"/>
                <a:ext cx="381953" cy="307777"/>
              </a:xfrm>
              <a:prstGeom prst="rect">
                <a:avLst/>
              </a:prstGeom>
              <a:noFill/>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latin typeface="Calibri" panose="020F050202020403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FFFFFF"/>
                    </a:solidFill>
                    <a:effectLst/>
                    <a:uLnTx/>
                    <a:uFillTx/>
                    <a:latin typeface="Calibri" panose="020F0502020204030204"/>
                    <a:ea typeface="+mn-ea"/>
                    <a:cs typeface="+mn-cs"/>
                  </a:rPr>
                  <a:t>05</a:t>
                </a:r>
              </a:p>
            </p:txBody>
          </p:sp>
        </p:grpSp>
      </p:grpSp>
      <p:pic>
        <p:nvPicPr>
          <p:cNvPr id="2" name="Picture 1">
            <a:extLst>
              <a:ext uri="{FF2B5EF4-FFF2-40B4-BE49-F238E27FC236}">
                <a16:creationId xmlns:a16="http://schemas.microsoft.com/office/drawing/2014/main" id="{95322C18-E8F8-07A5-AAC6-F143BC695DF9}"/>
              </a:ext>
            </a:extLst>
          </p:cNvPr>
          <p:cNvPicPr>
            <a:picLocks noChangeAspect="1"/>
          </p:cNvPicPr>
          <p:nvPr/>
        </p:nvPicPr>
        <p:blipFill>
          <a:blip r:embed="rId7"/>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1279114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E7EDCB-C7EF-E1C4-E08A-C390A7FFC768}"/>
              </a:ext>
            </a:extLst>
          </p:cNvPr>
          <p:cNvSpPr>
            <a:spLocks noGrp="1"/>
          </p:cNvSpPr>
          <p:nvPr>
            <p:ph type="title"/>
          </p:nvPr>
        </p:nvSpPr>
        <p:spPr>
          <a:xfrm>
            <a:off x="404812" y="388188"/>
            <a:ext cx="11210245" cy="716711"/>
          </a:xfrm>
        </p:spPr>
        <p:txBody>
          <a:bodyPr/>
          <a:lstStyle/>
          <a:p>
            <a:r>
              <a:rPr lang="en-US" b="1"/>
              <a:t>Enhancing Productivity Through Intelligent Application Support</a:t>
            </a:r>
          </a:p>
        </p:txBody>
      </p:sp>
      <p:sp>
        <p:nvSpPr>
          <p:cNvPr id="22" name="TextBox 21">
            <a:extLst>
              <a:ext uri="{FF2B5EF4-FFF2-40B4-BE49-F238E27FC236}">
                <a16:creationId xmlns:a16="http://schemas.microsoft.com/office/drawing/2014/main" id="{F8957300-B1E9-AB38-95C7-EA4501E01F5A}"/>
              </a:ext>
            </a:extLst>
          </p:cNvPr>
          <p:cNvSpPr txBox="1"/>
          <p:nvPr/>
        </p:nvSpPr>
        <p:spPr>
          <a:xfrm>
            <a:off x="379413" y="6518064"/>
            <a:ext cx="547777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FFFFFF"/>
                </a:solidFill>
                <a:effectLst/>
                <a:uLnTx/>
                <a:uFillTx/>
                <a:latin typeface="Calibri" panose="020F0502020204030204"/>
                <a:ea typeface="+mn-ea"/>
                <a:cs typeface="+mn-cs"/>
              </a:rPr>
              <a:t>Source : Salesforce State of sales Report – 5</a:t>
            </a:r>
            <a:r>
              <a:rPr kumimoji="0" lang="en-IN" sz="800" b="0" i="0" u="none" strike="noStrike" kern="1200" cap="none" spc="0" normalizeH="0" baseline="30000" noProof="0">
                <a:ln>
                  <a:noFill/>
                </a:ln>
                <a:solidFill>
                  <a:srgbClr val="FFFFFF"/>
                </a:solidFill>
                <a:effectLst/>
                <a:uLnTx/>
                <a:uFillTx/>
                <a:latin typeface="Calibri" panose="020F0502020204030204"/>
                <a:ea typeface="+mn-ea"/>
                <a:cs typeface="+mn-cs"/>
              </a:rPr>
              <a:t>th</a:t>
            </a:r>
            <a:r>
              <a:rPr kumimoji="0" lang="en-IN" sz="800" b="0" i="0" u="none" strike="noStrike" kern="1200" cap="none" spc="0" normalizeH="0" baseline="0" noProof="0">
                <a:ln>
                  <a:noFill/>
                </a:ln>
                <a:solidFill>
                  <a:srgbClr val="FFFFFF"/>
                </a:solidFill>
                <a:effectLst/>
                <a:uLnTx/>
                <a:uFillTx/>
                <a:latin typeface="Calibri" panose="020F0502020204030204"/>
                <a:ea typeface="+mn-ea"/>
                <a:cs typeface="+mn-cs"/>
              </a:rPr>
              <a:t> Edition</a:t>
            </a:r>
            <a:endParaRPr kumimoji="0" lang="en-US" sz="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1AE5AF2-EC64-65B9-5100-700ECF19EF8E}"/>
              </a:ext>
            </a:extLst>
          </p:cNvPr>
          <p:cNvSpPr txBox="1"/>
          <p:nvPr/>
        </p:nvSpPr>
        <p:spPr>
          <a:xfrm>
            <a:off x="1067310" y="3216753"/>
            <a:ext cx="262345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a:ln>
                  <a:noFill/>
                </a:ln>
                <a:solidFill>
                  <a:srgbClr val="0070AD">
                    <a:lumMod val="60000"/>
                    <a:lumOff val="40000"/>
                  </a:srgbClr>
                </a:solidFill>
                <a:effectLst/>
                <a:uLnTx/>
                <a:uFillTx/>
                <a:latin typeface="Calibri" panose="020F0502020204030204"/>
                <a:ea typeface="+mn-ea"/>
                <a:cs typeface="+mn-cs"/>
              </a:rPr>
              <a:t>Smart Issue classification</a:t>
            </a:r>
            <a:endParaRPr kumimoji="0" lang="en-US" sz="2400" b="1" i="0" u="none" strike="noStrike" kern="1200" cap="none" spc="0" normalizeH="0" baseline="0" noProof="0">
              <a:ln>
                <a:noFill/>
              </a:ln>
              <a:solidFill>
                <a:srgbClr val="0070AD">
                  <a:lumMod val="60000"/>
                  <a:lumOff val="40000"/>
                </a:srgb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EB64C3F-0FFD-B7E8-3490-89F3F6EE773A}"/>
              </a:ext>
            </a:extLst>
          </p:cNvPr>
          <p:cNvSpPr txBox="1"/>
          <p:nvPr/>
        </p:nvSpPr>
        <p:spPr>
          <a:xfrm>
            <a:off x="4771175" y="3216751"/>
            <a:ext cx="262345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a:ln>
                  <a:noFill/>
                </a:ln>
                <a:solidFill>
                  <a:srgbClr val="0070AD">
                    <a:lumMod val="60000"/>
                    <a:lumOff val="40000"/>
                  </a:srgbClr>
                </a:solidFill>
                <a:effectLst/>
                <a:uLnTx/>
                <a:uFillTx/>
                <a:latin typeface="Calibri" panose="020F0502020204030204"/>
                <a:ea typeface="+mn-ea"/>
                <a:cs typeface="+mn-cs"/>
              </a:rPr>
              <a:t>End to End KB translator</a:t>
            </a:r>
            <a:endParaRPr kumimoji="0" lang="en-US" sz="2400" b="1" i="0" u="none" strike="noStrike" kern="1200" cap="none" spc="0" normalizeH="0" baseline="0" noProof="0">
              <a:ln>
                <a:noFill/>
              </a:ln>
              <a:solidFill>
                <a:srgbClr val="0070AD">
                  <a:lumMod val="60000"/>
                  <a:lumOff val="40000"/>
                </a:srgb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B5264215-8CB6-2ED3-54A9-DD1CA2FA738E}"/>
              </a:ext>
            </a:extLst>
          </p:cNvPr>
          <p:cNvSpPr txBox="1"/>
          <p:nvPr/>
        </p:nvSpPr>
        <p:spPr>
          <a:xfrm>
            <a:off x="8475040" y="3216752"/>
            <a:ext cx="262345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a:ln>
                  <a:noFill/>
                </a:ln>
                <a:solidFill>
                  <a:srgbClr val="0070AD">
                    <a:lumMod val="60000"/>
                    <a:lumOff val="40000"/>
                  </a:srgbClr>
                </a:solidFill>
                <a:effectLst/>
                <a:uLnTx/>
                <a:uFillTx/>
                <a:latin typeface="Calibri" panose="020F0502020204030204"/>
                <a:ea typeface="+mn-ea"/>
                <a:cs typeface="+mn-cs"/>
              </a:rPr>
              <a:t>Smart Past Defect Search </a:t>
            </a:r>
            <a:endParaRPr kumimoji="0" lang="en-US" sz="2400" b="1" i="0" u="none" strike="noStrike" kern="1200" cap="none" spc="0" normalizeH="0" baseline="0" noProof="0">
              <a:ln>
                <a:noFill/>
              </a:ln>
              <a:solidFill>
                <a:srgbClr val="0070AD">
                  <a:lumMod val="60000"/>
                  <a:lumOff val="40000"/>
                </a:srgbClr>
              </a:solidFill>
              <a:effectLst/>
              <a:uLnTx/>
              <a:uFillTx/>
              <a:latin typeface="Calibri" panose="020F0502020204030204"/>
              <a:ea typeface="+mn-ea"/>
              <a:cs typeface="+mn-cs"/>
            </a:endParaRPr>
          </a:p>
        </p:txBody>
      </p:sp>
      <p:pic>
        <p:nvPicPr>
          <p:cNvPr id="8" name="Graphic 7" descr="Folder Search with solid fill">
            <a:extLst>
              <a:ext uri="{FF2B5EF4-FFF2-40B4-BE49-F238E27FC236}">
                <a16:creationId xmlns:a16="http://schemas.microsoft.com/office/drawing/2014/main" id="{A281E1B8-8261-3386-F277-B3DDC621EF9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45896" y="2423936"/>
            <a:ext cx="914400" cy="914400"/>
          </a:xfrm>
          <a:prstGeom prst="rect">
            <a:avLst/>
          </a:prstGeom>
        </p:spPr>
      </p:pic>
      <p:pic>
        <p:nvPicPr>
          <p:cNvPr id="15" name="Graphic 14" descr="Rating with solid fill">
            <a:extLst>
              <a:ext uri="{FF2B5EF4-FFF2-40B4-BE49-F238E27FC236}">
                <a16:creationId xmlns:a16="http://schemas.microsoft.com/office/drawing/2014/main" id="{35779721-123C-2F5F-646C-8BE00F1B9AE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17758" y="2423936"/>
            <a:ext cx="914400" cy="914400"/>
          </a:xfrm>
          <a:prstGeom prst="rect">
            <a:avLst/>
          </a:prstGeom>
        </p:spPr>
      </p:pic>
      <p:pic>
        <p:nvPicPr>
          <p:cNvPr id="18" name="Graphic 17" descr="Subtitles with solid fill">
            <a:extLst>
              <a:ext uri="{FF2B5EF4-FFF2-40B4-BE49-F238E27FC236}">
                <a16:creationId xmlns:a16="http://schemas.microsoft.com/office/drawing/2014/main" id="{65F69E88-5586-A4A1-9E74-7B6D5F9F67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70558" y="2423936"/>
            <a:ext cx="914400" cy="914400"/>
          </a:xfrm>
          <a:prstGeom prst="rect">
            <a:avLst/>
          </a:prstGeom>
        </p:spPr>
      </p:pic>
      <p:sp>
        <p:nvSpPr>
          <p:cNvPr id="19" name="TextBox 18">
            <a:extLst>
              <a:ext uri="{FF2B5EF4-FFF2-40B4-BE49-F238E27FC236}">
                <a16:creationId xmlns:a16="http://schemas.microsoft.com/office/drawing/2014/main" id="{130B7138-4EE0-4D7C-1164-BBC033214DFA}"/>
              </a:ext>
            </a:extLst>
          </p:cNvPr>
          <p:cNvSpPr txBox="1"/>
          <p:nvPr/>
        </p:nvSpPr>
        <p:spPr>
          <a:xfrm>
            <a:off x="858157" y="4151086"/>
            <a:ext cx="2832611"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Classify and categorize issues to streamline ticket handling.</a:t>
            </a:r>
          </a:p>
        </p:txBody>
      </p:sp>
      <p:sp>
        <p:nvSpPr>
          <p:cNvPr id="21" name="TextBox 20">
            <a:extLst>
              <a:ext uri="{FF2B5EF4-FFF2-40B4-BE49-F238E27FC236}">
                <a16:creationId xmlns:a16="http://schemas.microsoft.com/office/drawing/2014/main" id="{F500CC7E-9FD4-AA7E-9B42-964DC5568E71}"/>
              </a:ext>
            </a:extLst>
          </p:cNvPr>
          <p:cNvSpPr txBox="1"/>
          <p:nvPr/>
        </p:nvSpPr>
        <p:spPr>
          <a:xfrm>
            <a:off x="4666598" y="4150967"/>
            <a:ext cx="2832611"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Translate the entire knowledge base into the required language.</a:t>
            </a:r>
          </a:p>
        </p:txBody>
      </p:sp>
      <p:sp>
        <p:nvSpPr>
          <p:cNvPr id="23" name="TextBox 22">
            <a:extLst>
              <a:ext uri="{FF2B5EF4-FFF2-40B4-BE49-F238E27FC236}">
                <a16:creationId xmlns:a16="http://schemas.microsoft.com/office/drawing/2014/main" id="{A23CD258-1E17-32CB-334E-9EBFFEA616F4}"/>
              </a:ext>
            </a:extLst>
          </p:cNvPr>
          <p:cNvSpPr txBox="1"/>
          <p:nvPr/>
        </p:nvSpPr>
        <p:spPr>
          <a:xfrm>
            <a:off x="8475039" y="4150848"/>
            <a:ext cx="2832611"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Semantic search of past resolved tickets to identify similar cases</a:t>
            </a:r>
          </a:p>
        </p:txBody>
      </p:sp>
      <p:sp>
        <p:nvSpPr>
          <p:cNvPr id="10" name="Title 2">
            <a:extLst>
              <a:ext uri="{FF2B5EF4-FFF2-40B4-BE49-F238E27FC236}">
                <a16:creationId xmlns:a16="http://schemas.microsoft.com/office/drawing/2014/main" id="{FD63D26D-04FF-0E3F-A875-EE2F44E2E734}"/>
              </a:ext>
            </a:extLst>
          </p:cNvPr>
          <p:cNvSpPr txBox="1">
            <a:spLocks/>
          </p:cNvSpPr>
          <p:nvPr/>
        </p:nvSpPr>
        <p:spPr>
          <a:xfrm>
            <a:off x="4427688" y="1363064"/>
            <a:ext cx="3312055" cy="716711"/>
          </a:xfrm>
          <a:prstGeom prst="rect">
            <a:avLst/>
          </a:prstGeom>
        </p:spPr>
        <p:txBody>
          <a:bodyPr vert="horz" lIns="0" tIns="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FFFFFF"/>
                </a:solidFill>
                <a:effectLst/>
                <a:uLnTx/>
                <a:uFillTx/>
                <a:latin typeface="Calibri Light" panose="020F0302020204030204"/>
                <a:ea typeface="+mj-ea"/>
                <a:cs typeface="+mj-cs"/>
              </a:rPr>
              <a:t>Solution overview</a:t>
            </a:r>
            <a:endParaRPr kumimoji="0" lang="en-US" sz="2800" b="0" i="0" u="none" strike="noStrike" kern="1200" cap="all" spc="0" normalizeH="0" baseline="0" noProof="0">
              <a:ln>
                <a:noFill/>
              </a:ln>
              <a:solidFill>
                <a:srgbClr val="FFFFFF"/>
              </a:solidFill>
              <a:effectLst/>
              <a:uLnTx/>
              <a:uFillTx/>
              <a:latin typeface="Calibri Light" panose="020F0302020204030204"/>
              <a:ea typeface="+mj-ea"/>
              <a:cs typeface="Calibri Light"/>
            </a:endParaRPr>
          </a:p>
        </p:txBody>
      </p:sp>
      <p:pic>
        <p:nvPicPr>
          <p:cNvPr id="4" name="Picture 3">
            <a:extLst>
              <a:ext uri="{FF2B5EF4-FFF2-40B4-BE49-F238E27FC236}">
                <a16:creationId xmlns:a16="http://schemas.microsoft.com/office/drawing/2014/main" id="{4B69FEE0-FA63-A164-0F56-4FE0708008AA}"/>
              </a:ext>
            </a:extLst>
          </p:cNvPr>
          <p:cNvPicPr>
            <a:picLocks noChangeAspect="1"/>
          </p:cNvPicPr>
          <p:nvPr/>
        </p:nvPicPr>
        <p:blipFill>
          <a:blip r:embed="rId8"/>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243331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61A38-AC66-D5BD-AF16-CCA2EBE26A37}"/>
            </a:ext>
          </a:extLst>
        </p:cNvPr>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56C1CC56-96E0-E7D4-CF64-8A18BE4936C2}"/>
              </a:ext>
            </a:extLst>
          </p:cNvPr>
          <p:cNvSpPr>
            <a:spLocks noGrp="1"/>
          </p:cNvSpPr>
          <p:nvPr>
            <p:ph type="pic" sz="quarter" idx="10"/>
          </p:nvPr>
        </p:nvSpPr>
        <p:spPr>
          <a:xfrm>
            <a:off x="0" y="1088136"/>
            <a:ext cx="9692640" cy="5396190"/>
          </a:xfrm>
        </p:spPr>
        <p:txBody>
          <a:bodyPr/>
          <a:lstStyle/>
          <a:p>
            <a:r>
              <a:rPr lang="en-US"/>
              <a:t> </a:t>
            </a:r>
          </a:p>
        </p:txBody>
      </p:sp>
      <p:graphicFrame>
        <p:nvGraphicFramePr>
          <p:cNvPr id="5" name="Table 4">
            <a:extLst>
              <a:ext uri="{FF2B5EF4-FFF2-40B4-BE49-F238E27FC236}">
                <a16:creationId xmlns:a16="http://schemas.microsoft.com/office/drawing/2014/main" id="{221F5950-1FF2-C3E2-65FA-7D029764F0C7}"/>
              </a:ext>
            </a:extLst>
          </p:cNvPr>
          <p:cNvGraphicFramePr>
            <a:graphicFrameLocks noGrp="1"/>
          </p:cNvGraphicFramePr>
          <p:nvPr>
            <p:extLst>
              <p:ext uri="{D42A27DB-BD31-4B8C-83A1-F6EECF244321}">
                <p14:modId xmlns:p14="http://schemas.microsoft.com/office/powerpoint/2010/main" val="3161265237"/>
              </p:ext>
            </p:extLst>
          </p:nvPr>
        </p:nvGraphicFramePr>
        <p:xfrm>
          <a:off x="196596" y="1152144"/>
          <a:ext cx="11795760" cy="5332182"/>
        </p:xfrm>
        <a:graphic>
          <a:graphicData uri="http://schemas.openxmlformats.org/drawingml/2006/table">
            <a:tbl>
              <a:tblPr/>
              <a:tblGrid>
                <a:gridCol w="1527048">
                  <a:extLst>
                    <a:ext uri="{9D8B030D-6E8A-4147-A177-3AD203B41FA5}">
                      <a16:colId xmlns:a16="http://schemas.microsoft.com/office/drawing/2014/main" val="639174469"/>
                    </a:ext>
                  </a:extLst>
                </a:gridCol>
                <a:gridCol w="4727448">
                  <a:extLst>
                    <a:ext uri="{9D8B030D-6E8A-4147-A177-3AD203B41FA5}">
                      <a16:colId xmlns:a16="http://schemas.microsoft.com/office/drawing/2014/main" val="2388063132"/>
                    </a:ext>
                  </a:extLst>
                </a:gridCol>
                <a:gridCol w="5541264">
                  <a:extLst>
                    <a:ext uri="{9D8B030D-6E8A-4147-A177-3AD203B41FA5}">
                      <a16:colId xmlns:a16="http://schemas.microsoft.com/office/drawing/2014/main" val="2725283658"/>
                    </a:ext>
                  </a:extLst>
                </a:gridCol>
              </a:tblGrid>
              <a:tr h="306235">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Part of Prompt</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Description</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Example</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749260787"/>
                  </a:ext>
                </a:extLst>
              </a:tr>
              <a:tr h="306235">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Action</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The task you want the AI to accomplish.</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Create an Apex batch class named OpenPositionMatcher</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432205281"/>
                  </a:ext>
                </a:extLst>
              </a:tr>
              <a:tr h="1506553">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Context details</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Information about the context you want the AI to use. This includes important context such as org metadata and awareness about the presence of Salesforce objects and fields in your org. Run SFDX: Refresh </a:t>
                      </a:r>
                      <a:r>
                        <a:rPr kumimoji="0" lang="en-US" sz="1200" b="0" i="0" u="none" strike="noStrike" kern="1200" cap="none" spc="0" normalizeH="0" baseline="0" err="1">
                          <a:ln>
                            <a:noFill/>
                          </a:ln>
                          <a:solidFill>
                            <a:schemeClr val="bg1"/>
                          </a:solidFill>
                          <a:effectLst/>
                          <a:uLnTx/>
                          <a:uFillTx/>
                          <a:latin typeface="+mn-lt"/>
                          <a:ea typeface="+mn-ea"/>
                          <a:cs typeface="Times New Roman" panose="02020603050405020304" pitchFamily="18" charset="0"/>
                        </a:rPr>
                        <a:t>SObjects</a:t>
                      </a: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 Definitions to retrieve org metadata into your project. You can then add Salesforce Objects to your existing query.</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Create an Apex batch class named OpenPositionMatcher  </a:t>
                      </a: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that processes Position__c records created within the past 15 days. The class should match these open positions with suitable candidates based on their skills.</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1747056077"/>
                  </a:ext>
                </a:extLst>
              </a:tr>
              <a:tr h="1506553">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Best practices</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Details about best practices you want the AI to follow such as security and formatting best practices.</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Create an Apex batch class named OpenPositionMatcher that processes custom objects Position__c records created within the past 15 days. The class aims to match these open positions with suitable candidates based on their skills. </a:t>
                      </a: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Order the results by candidate names in descending order. Make sure the generated code follows security best practices. Separate operators with a new line.</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3555841588"/>
                  </a:ext>
                </a:extLst>
              </a:tr>
              <a:tr h="1706606">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Additional context</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Any additional information that you want to provide.</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Create an Apex batch class named OpenPositionMatcher that processes custom objects Position__c records created within the past 15 days. The class should match these open positions with suitable candidates based on their skills. Order the results by candidate names in descending order. Make sure the generated code follows security best practices. Separate operators with a new line.</a:t>
                      </a: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 The class is used in an LWC component.</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3764723492"/>
                  </a:ext>
                </a:extLst>
              </a:tr>
            </a:tbl>
          </a:graphicData>
        </a:graphic>
      </p:graphicFrame>
      <p:sp>
        <p:nvSpPr>
          <p:cNvPr id="6" name="TextBox 5">
            <a:extLst>
              <a:ext uri="{FF2B5EF4-FFF2-40B4-BE49-F238E27FC236}">
                <a16:creationId xmlns:a16="http://schemas.microsoft.com/office/drawing/2014/main" id="{1D231DE1-5196-77BC-FC41-534BB020ABCA}"/>
              </a:ext>
            </a:extLst>
          </p:cNvPr>
          <p:cNvSpPr txBox="1"/>
          <p:nvPr/>
        </p:nvSpPr>
        <p:spPr>
          <a:xfrm>
            <a:off x="114300" y="335868"/>
            <a:ext cx="38587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Tw Cen MT" panose="020B0602020104020603"/>
                <a:ea typeface="+mn-ea"/>
                <a:cs typeface="+mn-cs"/>
              </a:rPr>
              <a:t>Effective Prompt Writing</a:t>
            </a:r>
          </a:p>
        </p:txBody>
      </p:sp>
    </p:spTree>
    <p:extLst>
      <p:ext uri="{BB962C8B-B14F-4D97-AF65-F5344CB8AC3E}">
        <p14:creationId xmlns:p14="http://schemas.microsoft.com/office/powerpoint/2010/main" val="22889330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6">
            <a:extLst>
              <a:ext uri="{FF2B5EF4-FFF2-40B4-BE49-F238E27FC236}">
                <a16:creationId xmlns:a16="http://schemas.microsoft.com/office/drawing/2014/main" id="{14E36397-5042-7914-AEB2-D9AAE8D0BBB4}"/>
              </a:ext>
            </a:extLst>
          </p:cNvPr>
          <p:cNvSpPr txBox="1">
            <a:spLocks noGrp="1"/>
          </p:cNvSpPr>
          <p:nvPr>
            <p:ph type="title" idx="4294967295"/>
          </p:nvPr>
        </p:nvSpPr>
        <p:spPr>
          <a:xfrm>
            <a:off x="407368" y="1370585"/>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0" normalizeH="0" baseline="0" noProof="0" dirty="0">
                <a:ln>
                  <a:noFill/>
                </a:ln>
                <a:solidFill>
                  <a:schemeClr val="l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Ubuntu" panose="020B0504030602030204" pitchFamily="34" charset="0"/>
                <a:ea typeface="+mn-ea"/>
                <a:cs typeface="+mn-cs"/>
              </a:rPr>
              <a:t>About Capgemini</a:t>
            </a:r>
          </a:p>
        </p:txBody>
      </p:sp>
      <p:sp>
        <p:nvSpPr>
          <p:cNvPr id="3" name="Rectangle 2">
            <a:extLst>
              <a:ext uri="{FF2B5EF4-FFF2-40B4-BE49-F238E27FC236}">
                <a16:creationId xmlns:a16="http://schemas.microsoft.com/office/drawing/2014/main" id="{37CEA887-1344-64B5-5958-73B50C8D2B3F}"/>
              </a:ext>
            </a:extLst>
          </p:cNvPr>
          <p:cNvSpPr/>
          <p:nvPr/>
        </p:nvSpPr>
        <p:spPr>
          <a:xfrm>
            <a:off x="407369" y="1749849"/>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mn-lt"/>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p>
        </p:txBody>
      </p:sp>
      <p:sp>
        <p:nvSpPr>
          <p:cNvPr id="4" name="Rectangle 3">
            <a:extLst>
              <a:ext uri="{FF2B5EF4-FFF2-40B4-BE49-F238E27FC236}">
                <a16:creationId xmlns:a16="http://schemas.microsoft.com/office/drawing/2014/main" id="{20126FD7-9664-4478-C7C9-A70AB7544732}"/>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a:solidFill>
                  <a:schemeClr val="bg1"/>
                </a:solidFill>
                <a:effectLst/>
                <a:latin typeface="Ubuntu" panose="020B0504030602030204" pitchFamily="34" charset="0"/>
              </a:rPr>
              <a:t>Get the future you want |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1044416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8" name="Title 2">
            <a:extLst>
              <a:ext uri="{FF2B5EF4-FFF2-40B4-BE49-F238E27FC236}">
                <a16:creationId xmlns:a16="http://schemas.microsoft.com/office/drawing/2014/main" id="{030B85F3-DADC-B47E-D112-D8E4E391763C}"/>
              </a:ext>
            </a:extLst>
          </p:cNvPr>
          <p:cNvSpPr>
            <a:spLocks noGrp="1"/>
          </p:cNvSpPr>
          <p:nvPr>
            <p:ph type="title"/>
          </p:nvPr>
        </p:nvSpPr>
        <p:spPr/>
        <p:txBody>
          <a:bodyPr anchor="t"/>
          <a:lstStyle/>
          <a:p>
            <a:r>
              <a:rPr lang="en-IN"/>
              <a:t>PRODUCTIVITY GAIN ANALYSIS</a:t>
            </a:r>
            <a:endParaRPr lang="en-US"/>
          </a:p>
        </p:txBody>
      </p:sp>
      <p:sp>
        <p:nvSpPr>
          <p:cNvPr id="8376" name="TextBox 8375">
            <a:extLst>
              <a:ext uri="{FF2B5EF4-FFF2-40B4-BE49-F238E27FC236}">
                <a16:creationId xmlns:a16="http://schemas.microsoft.com/office/drawing/2014/main" id="{AEE6E423-9A9E-C34D-10FA-696CE910B258}"/>
              </a:ext>
            </a:extLst>
          </p:cNvPr>
          <p:cNvSpPr txBox="1"/>
          <p:nvPr/>
        </p:nvSpPr>
        <p:spPr>
          <a:xfrm>
            <a:off x="350378" y="705393"/>
            <a:ext cx="7659766" cy="338554"/>
          </a:xfrm>
          <a:prstGeom prst="rect">
            <a:avLst/>
          </a:prstGeom>
          <a:noFill/>
        </p:spPr>
        <p:txBody>
          <a:bodyPr wrap="square">
            <a:spAutoFit/>
          </a:bodyPr>
          <a:lstStyle/>
          <a:p>
            <a:r>
              <a:rPr lang="en-IN" sz="1600">
                <a:solidFill>
                  <a:schemeClr val="accent5">
                    <a:lumMod val="60000"/>
                    <a:lumOff val="40000"/>
                  </a:schemeClr>
                </a:solidFill>
              </a:rPr>
              <a:t>CONCLUSION</a:t>
            </a:r>
            <a:endParaRPr lang="en-US" sz="1600">
              <a:solidFill>
                <a:schemeClr val="accent5">
                  <a:lumMod val="60000"/>
                  <a:lumOff val="40000"/>
                </a:schemeClr>
              </a:solidFill>
            </a:endParaRPr>
          </a:p>
        </p:txBody>
      </p:sp>
      <p:graphicFrame>
        <p:nvGraphicFramePr>
          <p:cNvPr id="2" name="Table 9">
            <a:extLst>
              <a:ext uri="{FF2B5EF4-FFF2-40B4-BE49-F238E27FC236}">
                <a16:creationId xmlns:a16="http://schemas.microsoft.com/office/drawing/2014/main" id="{DFEF2236-30B0-CE17-0717-AC49C0002B81}"/>
              </a:ext>
            </a:extLst>
          </p:cNvPr>
          <p:cNvGraphicFramePr>
            <a:graphicFrameLocks noGrp="1"/>
          </p:cNvGraphicFramePr>
          <p:nvPr>
            <p:extLst>
              <p:ext uri="{D42A27DB-BD31-4B8C-83A1-F6EECF244321}">
                <p14:modId xmlns:p14="http://schemas.microsoft.com/office/powerpoint/2010/main" val="1021483288"/>
              </p:ext>
            </p:extLst>
          </p:nvPr>
        </p:nvGraphicFramePr>
        <p:xfrm>
          <a:off x="478383" y="1039243"/>
          <a:ext cx="6006499" cy="3291840"/>
        </p:xfrm>
        <a:graphic>
          <a:graphicData uri="http://schemas.openxmlformats.org/drawingml/2006/table">
            <a:tbl>
              <a:tblPr firstRow="1" bandRow="1">
                <a:tableStyleId>{7DF18680-E054-41AD-8BC1-D1AEF772440D}</a:tableStyleId>
              </a:tblPr>
              <a:tblGrid>
                <a:gridCol w="423478">
                  <a:extLst>
                    <a:ext uri="{9D8B030D-6E8A-4147-A177-3AD203B41FA5}">
                      <a16:colId xmlns:a16="http://schemas.microsoft.com/office/drawing/2014/main" val="1671352464"/>
                    </a:ext>
                  </a:extLst>
                </a:gridCol>
                <a:gridCol w="4499426">
                  <a:extLst>
                    <a:ext uri="{9D8B030D-6E8A-4147-A177-3AD203B41FA5}">
                      <a16:colId xmlns:a16="http://schemas.microsoft.com/office/drawing/2014/main" val="3990955695"/>
                    </a:ext>
                  </a:extLst>
                </a:gridCol>
                <a:gridCol w="1083595">
                  <a:extLst>
                    <a:ext uri="{9D8B030D-6E8A-4147-A177-3AD203B41FA5}">
                      <a16:colId xmlns:a16="http://schemas.microsoft.com/office/drawing/2014/main" val="486099869"/>
                    </a:ext>
                  </a:extLst>
                </a:gridCol>
              </a:tblGrid>
              <a:tr h="365760">
                <a:tc>
                  <a:txBody>
                    <a:bodyPr/>
                    <a:lstStyle/>
                    <a:p>
                      <a:pPr algn="ctr"/>
                      <a:r>
                        <a:rPr lang="en-IN" sz="1600">
                          <a:solidFill>
                            <a:schemeClr val="bg1"/>
                          </a:solidFill>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pPr algn="l"/>
                      <a:r>
                        <a:rPr lang="en-IN" sz="1600">
                          <a:solidFill>
                            <a:schemeClr val="bg1"/>
                          </a:solidFill>
                        </a:rPr>
                        <a:t>PROJECT PHASE/ACTIVITY</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pPr algn="ctr"/>
                      <a:r>
                        <a:rPr lang="en-IN" sz="1600">
                          <a:solidFill>
                            <a:schemeClr val="bg1"/>
                          </a:solidFill>
                        </a:rPr>
                        <a:t>% GAI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909252662"/>
                  </a:ext>
                </a:extLst>
              </a:tr>
              <a:tr h="365760">
                <a:tc>
                  <a:txBody>
                    <a:bodyPr/>
                    <a:lstStyle/>
                    <a:p>
                      <a:pPr algn="ctr"/>
                      <a:r>
                        <a:rPr lang="en-IN" sz="1400">
                          <a:solidFill>
                            <a:schemeClr val="bg1"/>
                          </a:solidFill>
                        </a:rPr>
                        <a:t>1</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200">
                          <a:solidFill>
                            <a:schemeClr val="bg1"/>
                          </a:solidFill>
                        </a:rPr>
                        <a:t>Discovery Phase – Architecture, Design, PoC</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algn="ctr"/>
                      <a:r>
                        <a:rPr lang="en-IN" sz="1400" b="0">
                          <a:solidFill>
                            <a:schemeClr val="accent5">
                              <a:lumMod val="60000"/>
                              <a:lumOff val="40000"/>
                            </a:schemeClr>
                          </a:solidFill>
                        </a:rPr>
                        <a:t>5 – 10</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39267244"/>
                  </a:ext>
                </a:extLst>
              </a:tr>
              <a:tr h="365760">
                <a:tc>
                  <a:txBody>
                    <a:bodyPr/>
                    <a:lstStyle/>
                    <a:p>
                      <a:pPr algn="ctr"/>
                      <a:r>
                        <a:rPr lang="en-IN" sz="1400">
                          <a:solidFill>
                            <a:schemeClr val="bg1"/>
                          </a:solidFill>
                        </a:rPr>
                        <a:t>2</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200">
                          <a:solidFill>
                            <a:schemeClr val="bg1"/>
                          </a:solidFill>
                        </a:rPr>
                        <a:t>Functional Stream – User Story Prep, Workshops, PoC</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algn="ctr"/>
                      <a:r>
                        <a:rPr lang="en-IN" sz="1400" b="0">
                          <a:solidFill>
                            <a:schemeClr val="accent5">
                              <a:lumMod val="60000"/>
                              <a:lumOff val="40000"/>
                            </a:schemeClr>
                          </a:solidFill>
                        </a:rPr>
                        <a:t>5 – 15 </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2702693"/>
                  </a:ext>
                </a:extLst>
              </a:tr>
              <a:tr h="365760">
                <a:tc>
                  <a:txBody>
                    <a:bodyPr/>
                    <a:lstStyle/>
                    <a:p>
                      <a:pPr algn="ctr"/>
                      <a:r>
                        <a:rPr lang="en-IN" sz="1400">
                          <a:solidFill>
                            <a:schemeClr val="bg1"/>
                          </a:solidFill>
                        </a:rPr>
                        <a:t>3</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200">
                          <a:solidFill>
                            <a:schemeClr val="bg1"/>
                          </a:solidFill>
                        </a:rPr>
                        <a:t>Technical Design – Design, PoC</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a:solidFill>
                            <a:schemeClr val="accent5">
                              <a:lumMod val="60000"/>
                              <a:lumOff val="40000"/>
                            </a:schemeClr>
                          </a:solidFill>
                        </a:rPr>
                        <a:t>10 – 15</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15960642"/>
                  </a:ext>
                </a:extLst>
              </a:tr>
              <a:tr h="365760">
                <a:tc>
                  <a:txBody>
                    <a:bodyPr/>
                    <a:lstStyle/>
                    <a:p>
                      <a:pPr algn="ctr"/>
                      <a:r>
                        <a:rPr lang="en-IN" sz="1400">
                          <a:solidFill>
                            <a:schemeClr val="bg1"/>
                          </a:solidFill>
                        </a:rPr>
                        <a:t>4</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200">
                          <a:solidFill>
                            <a:schemeClr val="bg1"/>
                          </a:solidFill>
                        </a:rPr>
                        <a:t>Build + Unit Tes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algn="ctr"/>
                      <a:r>
                        <a:rPr lang="en-IN" sz="1400" b="0">
                          <a:solidFill>
                            <a:schemeClr val="accent5">
                              <a:lumMod val="60000"/>
                              <a:lumOff val="40000"/>
                            </a:schemeClr>
                          </a:solidFill>
                        </a:rPr>
                        <a:t>10 - 25 </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10059972"/>
                  </a:ext>
                </a:extLst>
              </a:tr>
              <a:tr h="365760">
                <a:tc>
                  <a:txBody>
                    <a:bodyPr/>
                    <a:lstStyle/>
                    <a:p>
                      <a:pPr algn="ctr"/>
                      <a:r>
                        <a:rPr lang="en-IN" sz="1400">
                          <a:solidFill>
                            <a:schemeClr val="bg1"/>
                          </a:solidFill>
                        </a:rPr>
                        <a:t>5</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200">
                          <a:solidFill>
                            <a:schemeClr val="bg1"/>
                          </a:solidFill>
                        </a:rPr>
                        <a:t>Test Case Preparation, Test Data Setup</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algn="ctr"/>
                      <a:r>
                        <a:rPr lang="en-IN" sz="1400" b="0">
                          <a:solidFill>
                            <a:schemeClr val="accent5">
                              <a:lumMod val="60000"/>
                              <a:lumOff val="40000"/>
                            </a:schemeClr>
                          </a:solidFill>
                        </a:rPr>
                        <a:t>25 – 35</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71037675"/>
                  </a:ext>
                </a:extLst>
              </a:tr>
              <a:tr h="365760">
                <a:tc>
                  <a:txBody>
                    <a:bodyPr/>
                    <a:lstStyle/>
                    <a:p>
                      <a:pPr algn="ctr"/>
                      <a:r>
                        <a:rPr lang="en-IN" sz="1400">
                          <a:solidFill>
                            <a:schemeClr val="bg1"/>
                          </a:solidFill>
                        </a:rPr>
                        <a:t>6</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200">
                          <a:solidFill>
                            <a:schemeClr val="bg1"/>
                          </a:solidFill>
                        </a:rPr>
                        <a:t>Testing</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algn="ctr"/>
                      <a:r>
                        <a:rPr lang="en-IN" sz="1400" b="0">
                          <a:solidFill>
                            <a:schemeClr val="accent5">
                              <a:lumMod val="60000"/>
                              <a:lumOff val="40000"/>
                            </a:schemeClr>
                          </a:solidFill>
                        </a:rPr>
                        <a:t>10 - 15</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67969769"/>
                  </a:ext>
                </a:extLst>
              </a:tr>
              <a:tr h="365760">
                <a:tc>
                  <a:txBody>
                    <a:bodyPr/>
                    <a:lstStyle/>
                    <a:p>
                      <a:pPr algn="ctr"/>
                      <a:r>
                        <a:rPr lang="en-IN" sz="1400">
                          <a:solidFill>
                            <a:schemeClr val="bg1"/>
                          </a:solidFill>
                        </a:rPr>
                        <a:t>7</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200">
                          <a:solidFill>
                            <a:schemeClr val="bg1"/>
                          </a:solidFill>
                        </a:rPr>
                        <a:t>Deploymen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algn="ctr"/>
                      <a:r>
                        <a:rPr lang="en-IN" sz="1400" b="0">
                          <a:solidFill>
                            <a:schemeClr val="accent5">
                              <a:lumMod val="60000"/>
                              <a:lumOff val="40000"/>
                            </a:schemeClr>
                          </a:solidFill>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40049208"/>
                  </a:ext>
                </a:extLst>
              </a:tr>
              <a:tr h="365760">
                <a:tc>
                  <a:txBody>
                    <a:bodyPr/>
                    <a:lstStyle/>
                    <a:p>
                      <a:pPr algn="ctr"/>
                      <a:r>
                        <a:rPr lang="en-IN" sz="1400">
                          <a:solidFill>
                            <a:schemeClr val="bg1"/>
                          </a:solidFill>
                        </a:rPr>
                        <a:t>8</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200">
                          <a:solidFill>
                            <a:schemeClr val="bg1"/>
                          </a:solidFill>
                        </a:rPr>
                        <a:t>Hypercare </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b="0">
                          <a:solidFill>
                            <a:schemeClr val="accent5">
                              <a:lumMod val="60000"/>
                              <a:lumOff val="40000"/>
                            </a:schemeClr>
                          </a:solidFill>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98007237"/>
                  </a:ext>
                </a:extLst>
              </a:tr>
            </a:tbl>
          </a:graphicData>
        </a:graphic>
      </p:graphicFrame>
      <p:sp>
        <p:nvSpPr>
          <p:cNvPr id="9" name="TextBox 8">
            <a:extLst>
              <a:ext uri="{FF2B5EF4-FFF2-40B4-BE49-F238E27FC236}">
                <a16:creationId xmlns:a16="http://schemas.microsoft.com/office/drawing/2014/main" id="{7C187902-CE47-CC0E-FF21-EB31D88FE6FB}"/>
              </a:ext>
            </a:extLst>
          </p:cNvPr>
          <p:cNvSpPr txBox="1"/>
          <p:nvPr/>
        </p:nvSpPr>
        <p:spPr>
          <a:xfrm>
            <a:off x="393903" y="5913238"/>
            <a:ext cx="1140901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1">
                <a:solidFill>
                  <a:schemeClr val="accent5">
                    <a:lumMod val="60000"/>
                    <a:lumOff val="40000"/>
                  </a:schemeClr>
                </a:solidFill>
                <a:latin typeface="Ubuntu"/>
              </a:rPr>
              <a:t>Note</a:t>
            </a:r>
            <a:r>
              <a:rPr kumimoji="0" lang="en-US" sz="1200" b="1" i="0" u="none" strike="noStrike" kern="1200" cap="none" spc="0" normalizeH="0" baseline="0" noProof="0">
                <a:ln>
                  <a:noFill/>
                </a:ln>
                <a:solidFill>
                  <a:schemeClr val="accent5">
                    <a:lumMod val="60000"/>
                    <a:lumOff val="40000"/>
                  </a:schemeClr>
                </a:solidFill>
                <a:effectLst/>
                <a:uLnTx/>
                <a:uFillTx/>
                <a:latin typeface="Ubuntu"/>
                <a:ea typeface="+mn-ea"/>
                <a:cs typeface="+mn-cs"/>
              </a:rPr>
              <a:t>:  </a:t>
            </a:r>
            <a:r>
              <a:rPr kumimoji="0" lang="en-US" sz="1200" b="0" i="0" u="none" strike="noStrike" kern="1200" cap="none" spc="0" normalizeH="0" baseline="0" noProof="0">
                <a:ln>
                  <a:noFill/>
                </a:ln>
                <a:solidFill>
                  <a:schemeClr val="bg1"/>
                </a:solidFill>
                <a:effectLst/>
                <a:uLnTx/>
                <a:uFillTx/>
                <a:latin typeface="Ubuntu"/>
                <a:ea typeface="+mn-ea"/>
                <a:cs typeface="+mn-cs"/>
              </a:rPr>
              <a:t>The above depiction can only be used with the </a:t>
            </a:r>
            <a:r>
              <a:rPr kumimoji="0" lang="en-US" sz="1200" b="1" i="0" u="none" strike="noStrike" kern="1200" cap="none" spc="0" normalizeH="0" baseline="0" noProof="0">
                <a:ln>
                  <a:noFill/>
                </a:ln>
                <a:solidFill>
                  <a:schemeClr val="accent5">
                    <a:lumMod val="60000"/>
                    <a:lumOff val="40000"/>
                  </a:schemeClr>
                </a:solidFill>
                <a:effectLst/>
                <a:uLnTx/>
                <a:uFillTx/>
                <a:latin typeface="Ubuntu"/>
                <a:ea typeface="+mn-ea"/>
                <a:cs typeface="+mn-cs"/>
              </a:rPr>
              <a:t>approval</a:t>
            </a:r>
            <a:r>
              <a:rPr kumimoji="0" lang="en-US" sz="1200" b="0" i="0" u="none" strike="noStrike" kern="1200" cap="none" spc="0" normalizeH="0" baseline="0" noProof="0">
                <a:ln>
                  <a:noFill/>
                </a:ln>
                <a:solidFill>
                  <a:schemeClr val="bg1"/>
                </a:solidFill>
                <a:effectLst/>
                <a:uLnTx/>
                <a:uFillTx/>
                <a:latin typeface="Ubuntu"/>
                <a:ea typeface="+mn-ea"/>
                <a:cs typeface="+mn-cs"/>
              </a:rPr>
              <a:t> of the Business Finance Manager, MU Head, or BU Head with the group guidelines as published. Percentage savings differ from project to project.</a:t>
            </a:r>
          </a:p>
        </p:txBody>
      </p:sp>
      <p:graphicFrame>
        <p:nvGraphicFramePr>
          <p:cNvPr id="13" name="Table 9">
            <a:extLst>
              <a:ext uri="{FF2B5EF4-FFF2-40B4-BE49-F238E27FC236}">
                <a16:creationId xmlns:a16="http://schemas.microsoft.com/office/drawing/2014/main" id="{FB545E32-61F7-9EAD-71C5-971E8728777F}"/>
              </a:ext>
            </a:extLst>
          </p:cNvPr>
          <p:cNvGraphicFramePr>
            <a:graphicFrameLocks noGrp="1"/>
          </p:cNvGraphicFramePr>
          <p:nvPr>
            <p:extLst>
              <p:ext uri="{D42A27DB-BD31-4B8C-83A1-F6EECF244321}">
                <p14:modId xmlns:p14="http://schemas.microsoft.com/office/powerpoint/2010/main" val="2260247783"/>
              </p:ext>
            </p:extLst>
          </p:nvPr>
        </p:nvGraphicFramePr>
        <p:xfrm>
          <a:off x="478383" y="4488501"/>
          <a:ext cx="6006498" cy="1000577"/>
        </p:xfrm>
        <a:graphic>
          <a:graphicData uri="http://schemas.openxmlformats.org/drawingml/2006/table">
            <a:tbl>
              <a:tblPr firstRow="1" bandRow="1">
                <a:tableStyleId>{7DF18680-E054-41AD-8BC1-D1AEF772440D}</a:tableStyleId>
              </a:tblPr>
              <a:tblGrid>
                <a:gridCol w="461289">
                  <a:extLst>
                    <a:ext uri="{9D8B030D-6E8A-4147-A177-3AD203B41FA5}">
                      <a16:colId xmlns:a16="http://schemas.microsoft.com/office/drawing/2014/main" val="1671352464"/>
                    </a:ext>
                  </a:extLst>
                </a:gridCol>
                <a:gridCol w="4443361">
                  <a:extLst>
                    <a:ext uri="{9D8B030D-6E8A-4147-A177-3AD203B41FA5}">
                      <a16:colId xmlns:a16="http://schemas.microsoft.com/office/drawing/2014/main" val="3990955695"/>
                    </a:ext>
                  </a:extLst>
                </a:gridCol>
                <a:gridCol w="1101848">
                  <a:extLst>
                    <a:ext uri="{9D8B030D-6E8A-4147-A177-3AD203B41FA5}">
                      <a16:colId xmlns:a16="http://schemas.microsoft.com/office/drawing/2014/main" val="486099869"/>
                    </a:ext>
                  </a:extLst>
                </a:gridCol>
              </a:tblGrid>
              <a:tr h="278264">
                <a:tc>
                  <a:txBody>
                    <a:bodyPr/>
                    <a:lstStyle/>
                    <a:p>
                      <a:pPr algn="ctr"/>
                      <a:r>
                        <a:rPr lang="en-IN" sz="1400">
                          <a:solidFill>
                            <a:schemeClr val="bg1"/>
                          </a:solidFill>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pPr algn="l"/>
                      <a:r>
                        <a:rPr lang="en-IN" sz="1400">
                          <a:solidFill>
                            <a:schemeClr val="bg1"/>
                          </a:solidFill>
                        </a:rPr>
                        <a:t>PYRAMID &amp; OFFSHORE </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pPr algn="ctr"/>
                      <a:r>
                        <a:rPr lang="en-IN" sz="1400">
                          <a:solidFill>
                            <a:schemeClr val="bg1"/>
                          </a:solidFill>
                        </a:rPr>
                        <a:t>% GAI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909252662"/>
                  </a:ext>
                </a:extLst>
              </a:tr>
              <a:tr h="326162">
                <a:tc>
                  <a:txBody>
                    <a:bodyPr/>
                    <a:lstStyle/>
                    <a:p>
                      <a:pPr algn="ctr"/>
                      <a:r>
                        <a:rPr lang="en-IN" sz="1100">
                          <a:solidFill>
                            <a:schemeClr val="bg1"/>
                          </a:solidFill>
                        </a:rPr>
                        <a:t>1</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100">
                          <a:solidFill>
                            <a:schemeClr val="bg1"/>
                          </a:solidFill>
                        </a:rPr>
                        <a:t>Optimized pyramid, higher Grade A</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algn="ctr"/>
                      <a:r>
                        <a:rPr lang="en-IN" sz="1100" b="0">
                          <a:solidFill>
                            <a:schemeClr val="accent5">
                              <a:lumMod val="60000"/>
                              <a:lumOff val="40000"/>
                            </a:schemeClr>
                          </a:solidFill>
                        </a:rPr>
                        <a:t>10  – 15</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39267244"/>
                  </a:ext>
                </a:extLst>
              </a:tr>
              <a:tr h="369615">
                <a:tc>
                  <a:txBody>
                    <a:bodyPr/>
                    <a:lstStyle/>
                    <a:p>
                      <a:pPr algn="ctr"/>
                      <a:r>
                        <a:rPr lang="en-IN" sz="1100">
                          <a:solidFill>
                            <a:schemeClr val="bg1"/>
                          </a:solidFill>
                        </a:rPr>
                        <a:t>2</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6">
                        <a:lumMod val="50000"/>
                      </a:schemeClr>
                    </a:solidFill>
                  </a:tcPr>
                </a:tc>
                <a:tc>
                  <a:txBody>
                    <a:bodyPr/>
                    <a:lstStyle/>
                    <a:p>
                      <a:r>
                        <a:rPr lang="en-IN" sz="1100">
                          <a:solidFill>
                            <a:schemeClr val="bg1"/>
                          </a:solidFill>
                        </a:rPr>
                        <a:t>Optimized Onshore &amp; Offshore Mix </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algn="ctr"/>
                      <a:r>
                        <a:rPr lang="en-IN" sz="1100" b="0">
                          <a:solidFill>
                            <a:schemeClr val="accent5">
                              <a:lumMod val="60000"/>
                              <a:lumOff val="40000"/>
                            </a:schemeClr>
                          </a:solidFill>
                        </a:rPr>
                        <a:t>5 – 10 </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2702693"/>
                  </a:ext>
                </a:extLst>
              </a:tr>
            </a:tbl>
          </a:graphicData>
        </a:graphic>
      </p:graphicFrame>
      <p:sp>
        <p:nvSpPr>
          <p:cNvPr id="4" name="Title 2">
            <a:extLst>
              <a:ext uri="{FF2B5EF4-FFF2-40B4-BE49-F238E27FC236}">
                <a16:creationId xmlns:a16="http://schemas.microsoft.com/office/drawing/2014/main" id="{7566937E-C381-0E46-0854-5D87CCD6E387}"/>
              </a:ext>
            </a:extLst>
          </p:cNvPr>
          <p:cNvSpPr txBox="1">
            <a:spLocks/>
          </p:cNvSpPr>
          <p:nvPr/>
        </p:nvSpPr>
        <p:spPr>
          <a:xfrm>
            <a:off x="7344217" y="363575"/>
            <a:ext cx="4347858" cy="458849"/>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r>
              <a:rPr lang="en-IN" sz="2000"/>
              <a:t>Gartner Magic Quadrant for</a:t>
            </a:r>
          </a:p>
          <a:p>
            <a:r>
              <a:rPr lang="en-IN" sz="2000"/>
              <a:t>AI Code Assistants</a:t>
            </a:r>
          </a:p>
        </p:txBody>
      </p:sp>
      <p:sp>
        <p:nvSpPr>
          <p:cNvPr id="7" name="TextBox 6">
            <a:extLst>
              <a:ext uri="{FF2B5EF4-FFF2-40B4-BE49-F238E27FC236}">
                <a16:creationId xmlns:a16="http://schemas.microsoft.com/office/drawing/2014/main" id="{8E7F7107-1AAE-B4EC-8620-8445D65B6C65}"/>
              </a:ext>
            </a:extLst>
          </p:cNvPr>
          <p:cNvSpPr txBox="1"/>
          <p:nvPr/>
        </p:nvSpPr>
        <p:spPr>
          <a:xfrm>
            <a:off x="955909" y="5517919"/>
            <a:ext cx="4487391" cy="427123"/>
          </a:xfrm>
          <a:prstGeom prst="roundRect">
            <a:avLst/>
          </a:prstGeom>
          <a:noFill/>
          <a:ln>
            <a:noFill/>
          </a:ln>
        </p:spPr>
        <p:txBody>
          <a:bodyPr wrap="square" lIns="54000" tIns="54000" rIns="54000" bIns="54000">
            <a:spAutoFit/>
          </a:bodyPr>
          <a:lstStyle/>
          <a:p>
            <a:pPr marR="5080" lvl="0" indent="11113" algn="ctr" defTabSz="914400" rtl="0" eaLnBrk="1" fontAlgn="auto" latinLnBrk="0" hangingPunct="1">
              <a:lnSpc>
                <a:spcPct val="100000"/>
              </a:lnSpc>
              <a:spcBef>
                <a:spcPts val="105"/>
              </a:spcBef>
              <a:spcAft>
                <a:spcPts val="0"/>
              </a:spcAft>
              <a:buClrTx/>
              <a:buSzTx/>
              <a:buFontTx/>
              <a:buNone/>
              <a:tabLst/>
              <a:defRPr/>
            </a:pPr>
            <a:r>
              <a:rPr kumimoji="0" lang="en-IN" b="1" i="0" u="none" strike="noStrike" kern="1200" cap="none" spc="0" normalizeH="0" baseline="0" noProof="0">
                <a:ln>
                  <a:noFill/>
                </a:ln>
                <a:solidFill>
                  <a:srgbClr val="0070C0"/>
                </a:solidFill>
                <a:effectLst/>
                <a:uLnTx/>
                <a:uFillTx/>
                <a:latin typeface="Ubuntu" panose="020B0504030602030204" pitchFamily="34" charset="0"/>
                <a:cs typeface="Verdana"/>
              </a:rPr>
              <a:t>Overall Productivity Gains </a:t>
            </a:r>
            <a:r>
              <a:rPr lang="en-IN" b="1">
                <a:solidFill>
                  <a:srgbClr val="0070C0"/>
                </a:solidFill>
                <a:latin typeface="Ubuntu" panose="020B0504030602030204" pitchFamily="34" charset="0"/>
                <a:cs typeface="Verdana"/>
              </a:rPr>
              <a:t>u</a:t>
            </a:r>
            <a:r>
              <a:rPr kumimoji="0" lang="en-IN" b="1" i="0" u="none" strike="noStrike" kern="1200" cap="none" spc="0" normalizeH="0" baseline="0" noProof="0">
                <a:ln>
                  <a:noFill/>
                </a:ln>
                <a:solidFill>
                  <a:srgbClr val="0070C0"/>
                </a:solidFill>
                <a:effectLst/>
                <a:uLnTx/>
                <a:uFillTx/>
                <a:latin typeface="Ubuntu" panose="020B0504030602030204" pitchFamily="34" charset="0"/>
                <a:cs typeface="Verdana"/>
              </a:rPr>
              <a:t>p to </a:t>
            </a:r>
            <a:r>
              <a:rPr kumimoji="0" lang="en-IN" b="1" i="0" u="none" strike="noStrike" kern="1200" cap="none" spc="0" normalizeH="0" baseline="0" noProof="0">
                <a:ln>
                  <a:noFill/>
                </a:ln>
                <a:solidFill>
                  <a:schemeClr val="bg1"/>
                </a:solidFill>
                <a:effectLst/>
                <a:uLnTx/>
                <a:uFillTx/>
                <a:latin typeface="Ubuntu" panose="020B0504030602030204" pitchFamily="34" charset="0"/>
                <a:cs typeface="Verdana"/>
              </a:rPr>
              <a:t>20 %</a:t>
            </a:r>
          </a:p>
        </p:txBody>
      </p:sp>
      <p:pic>
        <p:nvPicPr>
          <p:cNvPr id="3" name="Picture 2">
            <a:extLst>
              <a:ext uri="{FF2B5EF4-FFF2-40B4-BE49-F238E27FC236}">
                <a16:creationId xmlns:a16="http://schemas.microsoft.com/office/drawing/2014/main" id="{3EDAA6B6-5A54-B10A-5C1F-F691015AA01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530472" y="705393"/>
            <a:ext cx="622300" cy="622300"/>
          </a:xfrm>
          <a:prstGeom prst="rect">
            <a:avLst/>
          </a:prstGeom>
        </p:spPr>
      </p:pic>
      <p:pic>
        <p:nvPicPr>
          <p:cNvPr id="8" name="Picture 7">
            <a:extLst>
              <a:ext uri="{FF2B5EF4-FFF2-40B4-BE49-F238E27FC236}">
                <a16:creationId xmlns:a16="http://schemas.microsoft.com/office/drawing/2014/main" id="{4A5481FC-9B34-3910-9C35-4E4EF72A1488}"/>
              </a:ext>
            </a:extLst>
          </p:cNvPr>
          <p:cNvPicPr>
            <a:picLocks noChangeAspect="1"/>
          </p:cNvPicPr>
          <p:nvPr/>
        </p:nvPicPr>
        <p:blipFill>
          <a:blip r:embed="rId3"/>
          <a:stretch>
            <a:fillRect/>
          </a:stretch>
        </p:blipFill>
        <p:spPr>
          <a:xfrm>
            <a:off x="7493208" y="1026309"/>
            <a:ext cx="3850855" cy="4173716"/>
          </a:xfrm>
          <a:prstGeom prst="rect">
            <a:avLst/>
          </a:prstGeom>
        </p:spPr>
      </p:pic>
      <p:sp>
        <p:nvSpPr>
          <p:cNvPr id="5" name="TextBox 4">
            <a:extLst>
              <a:ext uri="{FF2B5EF4-FFF2-40B4-BE49-F238E27FC236}">
                <a16:creationId xmlns:a16="http://schemas.microsoft.com/office/drawing/2014/main" id="{FA17FC91-2995-2468-BF86-9A4EEB28A938}"/>
              </a:ext>
            </a:extLst>
          </p:cNvPr>
          <p:cNvSpPr txBox="1"/>
          <p:nvPr/>
        </p:nvSpPr>
        <p:spPr>
          <a:xfrm>
            <a:off x="5290454" y="10886"/>
            <a:ext cx="2026517" cy="461665"/>
          </a:xfrm>
          <a:prstGeom prst="rect">
            <a:avLst/>
          </a:prstGeom>
          <a:noFill/>
        </p:spPr>
        <p:txBody>
          <a:bodyPr wrap="none" rtlCol="0">
            <a:spAutoFit/>
          </a:bodyPr>
          <a:lstStyle/>
          <a:p>
            <a:r>
              <a:rPr lang="en-IN" sz="2400">
                <a:solidFill>
                  <a:srgbClr val="FF0000"/>
                </a:solidFill>
                <a:highlight>
                  <a:srgbClr val="FFFF00"/>
                </a:highlight>
              </a:rPr>
              <a:t>Internal Slide</a:t>
            </a:r>
          </a:p>
        </p:txBody>
      </p:sp>
    </p:spTree>
    <p:extLst>
      <p:ext uri="{BB962C8B-B14F-4D97-AF65-F5344CB8AC3E}">
        <p14:creationId xmlns:p14="http://schemas.microsoft.com/office/powerpoint/2010/main" val="973645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BD8F998-70C7-3BAE-3B18-A61896E9FED0}"/>
            </a:ext>
          </a:extLst>
        </p:cNvPr>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7078AB25-E6F4-83F2-5A89-D42E62788778}"/>
              </a:ext>
            </a:extLst>
          </p:cNvPr>
          <p:cNvSpPr>
            <a:spLocks noGrp="1"/>
          </p:cNvSpPr>
          <p:nvPr>
            <p:ph type="pic" sz="quarter" idx="10"/>
          </p:nvPr>
        </p:nvSpPr>
        <p:spPr>
          <a:xfrm>
            <a:off x="0" y="1088136"/>
            <a:ext cx="9692640" cy="5396190"/>
          </a:xfrm>
        </p:spPr>
        <p:txBody>
          <a:bodyPr/>
          <a:lstStyle/>
          <a:p>
            <a:r>
              <a:rPr lang="en-US"/>
              <a:t> </a:t>
            </a:r>
          </a:p>
        </p:txBody>
      </p:sp>
      <p:sp>
        <p:nvSpPr>
          <p:cNvPr id="6" name="TextBox 5">
            <a:extLst>
              <a:ext uri="{FF2B5EF4-FFF2-40B4-BE49-F238E27FC236}">
                <a16:creationId xmlns:a16="http://schemas.microsoft.com/office/drawing/2014/main" id="{B272D0CE-018F-133A-DDED-B8CB704CFF8A}"/>
              </a:ext>
            </a:extLst>
          </p:cNvPr>
          <p:cNvSpPr txBox="1"/>
          <p:nvPr/>
        </p:nvSpPr>
        <p:spPr>
          <a:xfrm>
            <a:off x="114300" y="335868"/>
            <a:ext cx="38587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Tw Cen MT" panose="020B0602020104020603"/>
                <a:ea typeface="+mn-ea"/>
                <a:cs typeface="+mn-cs"/>
              </a:rPr>
              <a:t>Effective Prompt Writing</a:t>
            </a:r>
          </a:p>
        </p:txBody>
      </p:sp>
      <p:graphicFrame>
        <p:nvGraphicFramePr>
          <p:cNvPr id="2" name="Table 1">
            <a:extLst>
              <a:ext uri="{FF2B5EF4-FFF2-40B4-BE49-F238E27FC236}">
                <a16:creationId xmlns:a16="http://schemas.microsoft.com/office/drawing/2014/main" id="{EA9323C4-1B3D-F05C-A341-289A35011264}"/>
              </a:ext>
            </a:extLst>
          </p:cNvPr>
          <p:cNvGraphicFramePr>
            <a:graphicFrameLocks noGrp="1"/>
          </p:cNvGraphicFramePr>
          <p:nvPr>
            <p:extLst>
              <p:ext uri="{D42A27DB-BD31-4B8C-83A1-F6EECF244321}">
                <p14:modId xmlns:p14="http://schemas.microsoft.com/office/powerpoint/2010/main" val="487672255"/>
              </p:ext>
            </p:extLst>
          </p:nvPr>
        </p:nvGraphicFramePr>
        <p:xfrm>
          <a:off x="198120" y="1088136"/>
          <a:ext cx="11795760" cy="5136000"/>
        </p:xfrm>
        <a:graphic>
          <a:graphicData uri="http://schemas.openxmlformats.org/drawingml/2006/table">
            <a:tbl>
              <a:tblPr/>
              <a:tblGrid>
                <a:gridCol w="1527048">
                  <a:extLst>
                    <a:ext uri="{9D8B030D-6E8A-4147-A177-3AD203B41FA5}">
                      <a16:colId xmlns:a16="http://schemas.microsoft.com/office/drawing/2014/main" val="639174469"/>
                    </a:ext>
                  </a:extLst>
                </a:gridCol>
                <a:gridCol w="4727448">
                  <a:extLst>
                    <a:ext uri="{9D8B030D-6E8A-4147-A177-3AD203B41FA5}">
                      <a16:colId xmlns:a16="http://schemas.microsoft.com/office/drawing/2014/main" val="2388063132"/>
                    </a:ext>
                  </a:extLst>
                </a:gridCol>
                <a:gridCol w="5541264">
                  <a:extLst>
                    <a:ext uri="{9D8B030D-6E8A-4147-A177-3AD203B41FA5}">
                      <a16:colId xmlns:a16="http://schemas.microsoft.com/office/drawing/2014/main" val="2725283658"/>
                    </a:ext>
                  </a:extLst>
                </a:gridCol>
              </a:tblGrid>
              <a:tr h="294968">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Part of Prompt</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Description</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Example</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749260787"/>
                  </a:ext>
                </a:extLst>
              </a:tr>
              <a:tr h="294968">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Action</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The task you want the AI to accomplish.</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Create an Apex batch class named OpenPositionMatcher</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432205281"/>
                  </a:ext>
                </a:extLst>
              </a:tr>
              <a:tr h="1451124">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Context details</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Information about the context you want the AI to use. This includes important context such as org metadata and awareness about the presence of Salesforce objects and fields in your org. Run SFDX: Refresh </a:t>
                      </a:r>
                      <a:r>
                        <a:rPr kumimoji="0" lang="en-US" sz="1200" b="0" i="0" u="none" strike="noStrike" kern="1200" cap="none" spc="0" normalizeH="0" baseline="0" err="1">
                          <a:ln>
                            <a:noFill/>
                          </a:ln>
                          <a:solidFill>
                            <a:schemeClr val="bg1"/>
                          </a:solidFill>
                          <a:effectLst/>
                          <a:uLnTx/>
                          <a:uFillTx/>
                          <a:latin typeface="+mn-lt"/>
                          <a:ea typeface="+mn-ea"/>
                          <a:cs typeface="Times New Roman" panose="02020603050405020304" pitchFamily="18" charset="0"/>
                        </a:rPr>
                        <a:t>SObjects</a:t>
                      </a: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 Definitions to retrieve org metadata into your project. You can then add Salesforce Objects to your existing query.</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Create an Apex batch class named OpenPositionMatcher  </a:t>
                      </a: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that processes Position__c records created within the past 15 days. The class should match these open positions with suitable candidates based on their skills.</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1747056077"/>
                  </a:ext>
                </a:extLst>
              </a:tr>
              <a:tr h="1451124">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Best practices</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Details about best practices you want the AI to follow such as security and formatting best practices.</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Create an Apex batch class named OpenPositionMatcher that processes custom objects Position__c records created within the past 15 days. The class aims to match these open positions with suitable candidates based on their skills. </a:t>
                      </a: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Order the results by candidate names in descending order. Make sure the generated code follows security best practices. Separate operators with a new line.</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3555841588"/>
                  </a:ext>
                </a:extLst>
              </a:tr>
              <a:tr h="1643816">
                <a:tc>
                  <a:txBody>
                    <a:bodyPr/>
                    <a:lstStyle/>
                    <a:p>
                      <a:pPr algn="l" fontAlgn="t">
                        <a:lnSpc>
                          <a:spcPts val="1500"/>
                        </a:lnSpc>
                      </a:pP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Additional context</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Any additional information that you want to provide.</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chemeClr val="tx1">
                        <a:lumMod val="85000"/>
                        <a:lumOff val="15000"/>
                      </a:schemeClr>
                    </a:solidFill>
                  </a:tcPr>
                </a:tc>
                <a:tc>
                  <a:txBody>
                    <a:bodyPr/>
                    <a:lstStyle/>
                    <a:p>
                      <a:pPr algn="l" fontAlgn="t">
                        <a:lnSpc>
                          <a:spcPts val="1500"/>
                        </a:lnSpc>
                      </a:pPr>
                      <a:r>
                        <a:rPr kumimoji="0" lang="en-US" sz="1200" b="0" i="0" u="none" strike="noStrike" kern="1200" cap="none" spc="0" normalizeH="0" baseline="0">
                          <a:ln>
                            <a:noFill/>
                          </a:ln>
                          <a:solidFill>
                            <a:schemeClr val="bg1"/>
                          </a:solidFill>
                          <a:effectLst/>
                          <a:uLnTx/>
                          <a:uFillTx/>
                          <a:latin typeface="+mn-lt"/>
                          <a:ea typeface="+mn-ea"/>
                          <a:cs typeface="Times New Roman" panose="02020603050405020304" pitchFamily="18" charset="0"/>
                        </a:rPr>
                        <a:t>Create an Apex batch class named OpenPositionMatcher that processes custom objects Position__c records created within the past 15 days. The class should match these open positions with suitable candidates based on their skills. Order the results by candidate names in descending order. Make sure the generated code follows security best practices. Separate operators with a new line.</a:t>
                      </a:r>
                      <a:r>
                        <a:rPr kumimoji="0" lang="en-US" sz="1200" b="1" i="0" u="none" strike="noStrike" kern="1200" cap="none" spc="0" normalizeH="0" baseline="0">
                          <a:ln>
                            <a:noFill/>
                          </a:ln>
                          <a:solidFill>
                            <a:schemeClr val="bg1"/>
                          </a:solidFill>
                          <a:effectLst/>
                          <a:uLnTx/>
                          <a:uFillTx/>
                          <a:latin typeface="+mn-lt"/>
                          <a:ea typeface="+mn-ea"/>
                          <a:cs typeface="Times New Roman" panose="02020603050405020304" pitchFamily="18" charset="0"/>
                        </a:rPr>
                        <a:t> The class is used in an LWC component.</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3764723492"/>
                  </a:ext>
                </a:extLst>
              </a:tr>
            </a:tbl>
          </a:graphicData>
        </a:graphic>
      </p:graphicFrame>
    </p:spTree>
    <p:extLst>
      <p:ext uri="{BB962C8B-B14F-4D97-AF65-F5344CB8AC3E}">
        <p14:creationId xmlns:p14="http://schemas.microsoft.com/office/powerpoint/2010/main" val="9110998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5D0CBB8-51BC-4987-C341-188A329FB789}"/>
              </a:ext>
            </a:extLst>
          </p:cNvPr>
          <p:cNvGraphicFramePr>
            <a:graphicFrameLocks noGrp="1"/>
          </p:cNvGraphicFramePr>
          <p:nvPr>
            <p:extLst>
              <p:ext uri="{D42A27DB-BD31-4B8C-83A1-F6EECF244321}">
                <p14:modId xmlns:p14="http://schemas.microsoft.com/office/powerpoint/2010/main" val="1859435080"/>
              </p:ext>
            </p:extLst>
          </p:nvPr>
        </p:nvGraphicFramePr>
        <p:xfrm>
          <a:off x="246888" y="612648"/>
          <a:ext cx="11795760" cy="5136000"/>
        </p:xfrm>
        <a:graphic>
          <a:graphicData uri="http://schemas.openxmlformats.org/drawingml/2006/table">
            <a:tbl>
              <a:tblPr/>
              <a:tblGrid>
                <a:gridCol w="1527048">
                  <a:extLst>
                    <a:ext uri="{9D8B030D-6E8A-4147-A177-3AD203B41FA5}">
                      <a16:colId xmlns:a16="http://schemas.microsoft.com/office/drawing/2014/main" val="639174469"/>
                    </a:ext>
                  </a:extLst>
                </a:gridCol>
                <a:gridCol w="4727448">
                  <a:extLst>
                    <a:ext uri="{9D8B030D-6E8A-4147-A177-3AD203B41FA5}">
                      <a16:colId xmlns:a16="http://schemas.microsoft.com/office/drawing/2014/main" val="2388063132"/>
                    </a:ext>
                  </a:extLst>
                </a:gridCol>
                <a:gridCol w="5541264">
                  <a:extLst>
                    <a:ext uri="{9D8B030D-6E8A-4147-A177-3AD203B41FA5}">
                      <a16:colId xmlns:a16="http://schemas.microsoft.com/office/drawing/2014/main" val="2725283658"/>
                    </a:ext>
                  </a:extLst>
                </a:gridCol>
              </a:tblGrid>
              <a:tr h="294968">
                <a:tc>
                  <a:txBody>
                    <a:bodyPr/>
                    <a:lstStyle/>
                    <a:p>
                      <a:pPr algn="l" fontAlgn="t">
                        <a:lnSpc>
                          <a:spcPts val="1500"/>
                        </a:lnSpc>
                      </a:pP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Part of Prompt</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1F3FB"/>
                    </a:solidFill>
                  </a:tcPr>
                </a:tc>
                <a:tc>
                  <a:txBody>
                    <a:bodyPr/>
                    <a:lstStyle/>
                    <a:p>
                      <a:pPr algn="l" fontAlgn="t">
                        <a:lnSpc>
                          <a:spcPts val="1500"/>
                        </a:lnSpc>
                      </a:pP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Description</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1F3FB"/>
                    </a:solidFill>
                  </a:tcPr>
                </a:tc>
                <a:tc>
                  <a:txBody>
                    <a:bodyPr/>
                    <a:lstStyle/>
                    <a:p>
                      <a:pPr algn="l" fontAlgn="t">
                        <a:lnSpc>
                          <a:spcPts val="1500"/>
                        </a:lnSpc>
                      </a:pP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Example</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1F3FB"/>
                    </a:solidFill>
                  </a:tcPr>
                </a:tc>
                <a:extLst>
                  <a:ext uri="{0D108BD9-81ED-4DB2-BD59-A6C34878D82A}">
                    <a16:rowId xmlns:a16="http://schemas.microsoft.com/office/drawing/2014/main" val="749260787"/>
                  </a:ext>
                </a:extLst>
              </a:tr>
              <a:tr h="294968">
                <a:tc>
                  <a:txBody>
                    <a:bodyPr/>
                    <a:lstStyle/>
                    <a:p>
                      <a:pPr algn="l" fontAlgn="t">
                        <a:lnSpc>
                          <a:spcPts val="1500"/>
                        </a:lnSpc>
                      </a:pP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Action</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tc>
                  <a:txBody>
                    <a:bodyPr/>
                    <a:lstStyle/>
                    <a:p>
                      <a:pPr algn="l" fontAlgn="t">
                        <a:lnSpc>
                          <a:spcPts val="1500"/>
                        </a:lnSpc>
                      </a:pPr>
                      <a:r>
                        <a:rPr kumimoji="0" lang="en-US" sz="1200" b="0" i="0" u="none" strike="noStrike" kern="1200" cap="none" spc="0" normalizeH="0" baseline="0">
                          <a:ln>
                            <a:noFill/>
                          </a:ln>
                          <a:solidFill>
                            <a:prstClr val="black"/>
                          </a:solidFill>
                          <a:effectLst/>
                          <a:uLnTx/>
                          <a:uFillTx/>
                          <a:latin typeface="+mn-lt"/>
                          <a:ea typeface="+mn-ea"/>
                          <a:cs typeface="Times New Roman" panose="02020603050405020304" pitchFamily="18" charset="0"/>
                        </a:rPr>
                        <a:t>The task you want the AI to accomplish.</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tc>
                  <a:txBody>
                    <a:bodyPr/>
                    <a:lstStyle/>
                    <a:p>
                      <a:pPr algn="l" fontAlgn="t">
                        <a:lnSpc>
                          <a:spcPts val="1500"/>
                        </a:lnSpc>
                      </a:pPr>
                      <a:r>
                        <a:rPr kumimoji="0" lang="en-US" sz="1200" b="0" i="0" u="none" strike="noStrike" kern="1200" cap="none" spc="0" normalizeH="0" baseline="0">
                          <a:ln>
                            <a:noFill/>
                          </a:ln>
                          <a:solidFill>
                            <a:prstClr val="black"/>
                          </a:solidFill>
                          <a:effectLst/>
                          <a:uLnTx/>
                          <a:uFillTx/>
                          <a:latin typeface="+mn-lt"/>
                          <a:ea typeface="+mn-ea"/>
                          <a:cs typeface="Times New Roman" panose="02020603050405020304" pitchFamily="18" charset="0"/>
                        </a:rPr>
                        <a:t>Create an Apex batch class named OpenPositionMatcher</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extLst>
                  <a:ext uri="{0D108BD9-81ED-4DB2-BD59-A6C34878D82A}">
                    <a16:rowId xmlns:a16="http://schemas.microsoft.com/office/drawing/2014/main" val="432205281"/>
                  </a:ext>
                </a:extLst>
              </a:tr>
              <a:tr h="1451124">
                <a:tc>
                  <a:txBody>
                    <a:bodyPr/>
                    <a:lstStyle/>
                    <a:p>
                      <a:pPr algn="l" fontAlgn="t">
                        <a:lnSpc>
                          <a:spcPts val="1500"/>
                        </a:lnSpc>
                      </a:pP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Context details</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tc>
                  <a:txBody>
                    <a:bodyPr/>
                    <a:lstStyle/>
                    <a:p>
                      <a:pPr algn="l" fontAlgn="t">
                        <a:lnSpc>
                          <a:spcPts val="1500"/>
                        </a:lnSpc>
                      </a:pPr>
                      <a:r>
                        <a:rPr kumimoji="0" lang="en-US" sz="1200" b="0" i="0" u="none" strike="noStrike" kern="1200" cap="none" spc="0" normalizeH="0" baseline="0">
                          <a:ln>
                            <a:noFill/>
                          </a:ln>
                          <a:solidFill>
                            <a:prstClr val="black"/>
                          </a:solidFill>
                          <a:effectLst/>
                          <a:uLnTx/>
                          <a:uFillTx/>
                          <a:latin typeface="+mn-lt"/>
                          <a:ea typeface="+mn-ea"/>
                          <a:cs typeface="Times New Roman" panose="02020603050405020304" pitchFamily="18" charset="0"/>
                        </a:rPr>
                        <a:t>Information about the context you want the AI to use. This includes important context such as org metadata and awareness about the presence of Salesforce objects and fields in your org. Run SFDX: Refresh SObjects Definitions to retrieve org metadata into your project. You can then add Salesforce Objects to your existing query.</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tc>
                  <a:txBody>
                    <a:bodyPr/>
                    <a:lstStyle/>
                    <a:p>
                      <a:pPr algn="l" fontAlgn="t">
                        <a:lnSpc>
                          <a:spcPts val="1500"/>
                        </a:lnSpc>
                      </a:pPr>
                      <a:r>
                        <a:rPr kumimoji="0" lang="en-US" sz="1200" b="0" i="0" u="none" strike="noStrike" kern="1200" cap="none" spc="0" normalizeH="0" baseline="0">
                          <a:ln>
                            <a:noFill/>
                          </a:ln>
                          <a:solidFill>
                            <a:prstClr val="black"/>
                          </a:solidFill>
                          <a:effectLst/>
                          <a:uLnTx/>
                          <a:uFillTx/>
                          <a:latin typeface="+mn-lt"/>
                          <a:ea typeface="+mn-ea"/>
                          <a:cs typeface="Times New Roman" panose="02020603050405020304" pitchFamily="18" charset="0"/>
                        </a:rPr>
                        <a:t>Create an Apex batch class named OpenPositionMatcher  </a:t>
                      </a: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that processes Position__c records created within the past 15 days. The class should match these open positions with suitable candidates based on their skills.</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extLst>
                  <a:ext uri="{0D108BD9-81ED-4DB2-BD59-A6C34878D82A}">
                    <a16:rowId xmlns:a16="http://schemas.microsoft.com/office/drawing/2014/main" val="1747056077"/>
                  </a:ext>
                </a:extLst>
              </a:tr>
              <a:tr h="1451124">
                <a:tc>
                  <a:txBody>
                    <a:bodyPr/>
                    <a:lstStyle/>
                    <a:p>
                      <a:pPr algn="l" fontAlgn="t">
                        <a:lnSpc>
                          <a:spcPts val="1500"/>
                        </a:lnSpc>
                      </a:pP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Best practices</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tc>
                  <a:txBody>
                    <a:bodyPr/>
                    <a:lstStyle/>
                    <a:p>
                      <a:pPr algn="l" fontAlgn="t">
                        <a:lnSpc>
                          <a:spcPts val="1500"/>
                        </a:lnSpc>
                      </a:pPr>
                      <a:r>
                        <a:rPr kumimoji="0" lang="en-US" sz="1200" b="0" i="0" u="none" strike="noStrike" kern="1200" cap="none" spc="0" normalizeH="0" baseline="0">
                          <a:ln>
                            <a:noFill/>
                          </a:ln>
                          <a:solidFill>
                            <a:prstClr val="black"/>
                          </a:solidFill>
                          <a:effectLst/>
                          <a:uLnTx/>
                          <a:uFillTx/>
                          <a:latin typeface="+mn-lt"/>
                          <a:ea typeface="+mn-ea"/>
                          <a:cs typeface="Times New Roman" panose="02020603050405020304" pitchFamily="18" charset="0"/>
                        </a:rPr>
                        <a:t>Details about best practices you want the AI to follow such as security and formatting best practices.</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tc>
                  <a:txBody>
                    <a:bodyPr/>
                    <a:lstStyle/>
                    <a:p>
                      <a:pPr algn="l" fontAlgn="t">
                        <a:lnSpc>
                          <a:spcPts val="1500"/>
                        </a:lnSpc>
                      </a:pPr>
                      <a:r>
                        <a:rPr kumimoji="0" lang="en-US" sz="1200" b="0" i="0" u="none" strike="noStrike" kern="1200" cap="none" spc="0" normalizeH="0" baseline="0">
                          <a:ln>
                            <a:noFill/>
                          </a:ln>
                          <a:solidFill>
                            <a:prstClr val="black"/>
                          </a:solidFill>
                          <a:effectLst/>
                          <a:uLnTx/>
                          <a:uFillTx/>
                          <a:latin typeface="+mn-lt"/>
                          <a:ea typeface="+mn-ea"/>
                          <a:cs typeface="Times New Roman" panose="02020603050405020304" pitchFamily="18" charset="0"/>
                        </a:rPr>
                        <a:t>Create an Apex batch class named OpenPositionMatcher that processes custom objects Position__c records created within the past 15 days. The class aims to match these open positions with suitable candidates based on their skills. </a:t>
                      </a: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Order the results by candidate names in descending order. Make sure the generated code follows security best practices. Separate operators with a new line.</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12700" cap="flat" cmpd="sng" algn="ctr">
                      <a:solidFill>
                        <a:srgbClr val="E2E8F0"/>
                      </a:solidFill>
                      <a:prstDash val="solid"/>
                      <a:round/>
                      <a:headEnd type="none" w="med" len="med"/>
                      <a:tailEnd type="none" w="med" len="med"/>
                    </a:lnB>
                    <a:solidFill>
                      <a:srgbClr val="FFFFFF"/>
                    </a:solidFill>
                  </a:tcPr>
                </a:tc>
                <a:extLst>
                  <a:ext uri="{0D108BD9-81ED-4DB2-BD59-A6C34878D82A}">
                    <a16:rowId xmlns:a16="http://schemas.microsoft.com/office/drawing/2014/main" val="3555841588"/>
                  </a:ext>
                </a:extLst>
              </a:tr>
              <a:tr h="1643816">
                <a:tc>
                  <a:txBody>
                    <a:bodyPr/>
                    <a:lstStyle/>
                    <a:p>
                      <a:pPr algn="l" fontAlgn="t">
                        <a:lnSpc>
                          <a:spcPts val="1500"/>
                        </a:lnSpc>
                      </a:pP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Additional context</a:t>
                      </a:r>
                    </a:p>
                  </a:txBody>
                  <a:tcPr marL="43889" marR="43889" marT="43889" marB="43889">
                    <a:lnL w="4229" cap="flat" cmpd="sng" algn="ctr">
                      <a:solidFill>
                        <a:srgbClr val="E5E5E5"/>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rgbClr val="FFFFFF"/>
                    </a:solidFill>
                  </a:tcPr>
                </a:tc>
                <a:tc>
                  <a:txBody>
                    <a:bodyPr/>
                    <a:lstStyle/>
                    <a:p>
                      <a:pPr algn="l" fontAlgn="t">
                        <a:lnSpc>
                          <a:spcPts val="1500"/>
                        </a:lnSpc>
                      </a:pPr>
                      <a:r>
                        <a:rPr kumimoji="0" lang="en-US" sz="1200" b="0" i="0" u="none" strike="noStrike" kern="1200" cap="none" spc="0" normalizeH="0" baseline="0">
                          <a:ln>
                            <a:noFill/>
                          </a:ln>
                          <a:solidFill>
                            <a:prstClr val="black"/>
                          </a:solidFill>
                          <a:effectLst/>
                          <a:uLnTx/>
                          <a:uFillTx/>
                          <a:latin typeface="+mn-lt"/>
                          <a:ea typeface="+mn-ea"/>
                          <a:cs typeface="Times New Roman" panose="02020603050405020304" pitchFamily="18" charset="0"/>
                        </a:rPr>
                        <a:t>Any additional information that you want to provide.</a:t>
                      </a:r>
                    </a:p>
                  </a:txBody>
                  <a:tcPr marL="43889" marR="43889" marT="43889" marB="43889">
                    <a:lnL w="12700" cap="flat" cmpd="sng" algn="ctr">
                      <a:solidFill>
                        <a:srgbClr val="E2E8F0"/>
                      </a:solidFill>
                      <a:prstDash val="solid"/>
                      <a:round/>
                      <a:headEnd type="none" w="med" len="med"/>
                      <a:tailEnd type="none" w="med" len="med"/>
                    </a:lnL>
                    <a:lnR w="12700" cap="flat" cmpd="sng" algn="ctr">
                      <a:solidFill>
                        <a:srgbClr val="E2E8F0"/>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rgbClr val="FFFFFF"/>
                    </a:solidFill>
                  </a:tcPr>
                </a:tc>
                <a:tc>
                  <a:txBody>
                    <a:bodyPr/>
                    <a:lstStyle/>
                    <a:p>
                      <a:pPr algn="l" fontAlgn="t">
                        <a:lnSpc>
                          <a:spcPts val="1500"/>
                        </a:lnSpc>
                      </a:pPr>
                      <a:r>
                        <a:rPr kumimoji="0" lang="en-US" sz="1200" b="0" i="0" u="none" strike="noStrike" kern="1200" cap="none" spc="0" normalizeH="0" baseline="0">
                          <a:ln>
                            <a:noFill/>
                          </a:ln>
                          <a:solidFill>
                            <a:prstClr val="black"/>
                          </a:solidFill>
                          <a:effectLst/>
                          <a:uLnTx/>
                          <a:uFillTx/>
                          <a:latin typeface="+mn-lt"/>
                          <a:ea typeface="+mn-ea"/>
                          <a:cs typeface="Times New Roman" panose="02020603050405020304" pitchFamily="18" charset="0"/>
                        </a:rPr>
                        <a:t>Create an Apex batch class named OpenPositionMatcher that processes custom objects Position__c records created within the past 15 days. The class should match these open positions with suitable candidates based on their skills. Order the results by candidate names in descending order. Make sure the generated code follows security best practices. Separate operators with a new line.</a:t>
                      </a:r>
                      <a:r>
                        <a:rPr kumimoji="0" lang="en-US" sz="1200" b="1" i="0" u="none" strike="noStrike" kern="1200" cap="none" spc="0" normalizeH="0" baseline="0">
                          <a:ln>
                            <a:noFill/>
                          </a:ln>
                          <a:solidFill>
                            <a:prstClr val="black"/>
                          </a:solidFill>
                          <a:effectLst/>
                          <a:uLnTx/>
                          <a:uFillTx/>
                          <a:latin typeface="+mn-lt"/>
                          <a:ea typeface="+mn-ea"/>
                          <a:cs typeface="Times New Roman" panose="02020603050405020304" pitchFamily="18" charset="0"/>
                        </a:rPr>
                        <a:t> The class is used in an LWC component.</a:t>
                      </a:r>
                    </a:p>
                  </a:txBody>
                  <a:tcPr marL="43889" marR="43889" marT="43889" marB="43889">
                    <a:lnL w="12700" cap="flat" cmpd="sng" algn="ctr">
                      <a:solidFill>
                        <a:srgbClr val="E2E8F0"/>
                      </a:solidFill>
                      <a:prstDash val="solid"/>
                      <a:round/>
                      <a:headEnd type="none" w="med" len="med"/>
                      <a:tailEnd type="none" w="med" len="med"/>
                    </a:lnL>
                    <a:lnR w="4229" cap="flat" cmpd="sng" algn="ctr">
                      <a:solidFill>
                        <a:srgbClr val="E5E5E5"/>
                      </a:solidFill>
                      <a:prstDash val="solid"/>
                      <a:round/>
                      <a:headEnd type="none" w="med" len="med"/>
                      <a:tailEnd type="none" w="med" len="med"/>
                    </a:lnR>
                    <a:lnT w="12700" cap="flat" cmpd="sng" algn="ctr">
                      <a:solidFill>
                        <a:srgbClr val="E2E8F0"/>
                      </a:solidFill>
                      <a:prstDash val="solid"/>
                      <a:round/>
                      <a:headEnd type="none" w="med" len="med"/>
                      <a:tailEnd type="none" w="med" len="med"/>
                    </a:lnT>
                    <a:lnB w="4229" cap="flat" cmpd="sng" algn="ctr">
                      <a:solidFill>
                        <a:srgbClr val="E5E5E5"/>
                      </a:solidFill>
                      <a:prstDash val="solid"/>
                      <a:round/>
                      <a:headEnd type="none" w="med" len="med"/>
                      <a:tailEnd type="none" w="med" len="med"/>
                    </a:lnB>
                    <a:solidFill>
                      <a:srgbClr val="FFFFFF"/>
                    </a:solidFill>
                  </a:tcPr>
                </a:tc>
                <a:extLst>
                  <a:ext uri="{0D108BD9-81ED-4DB2-BD59-A6C34878D82A}">
                    <a16:rowId xmlns:a16="http://schemas.microsoft.com/office/drawing/2014/main" val="3764723492"/>
                  </a:ext>
                </a:extLst>
              </a:tr>
            </a:tbl>
          </a:graphicData>
        </a:graphic>
      </p:graphicFrame>
      <p:sp>
        <p:nvSpPr>
          <p:cNvPr id="5" name="TextBox 4">
            <a:extLst>
              <a:ext uri="{FF2B5EF4-FFF2-40B4-BE49-F238E27FC236}">
                <a16:creationId xmlns:a16="http://schemas.microsoft.com/office/drawing/2014/main" id="{874771FD-B6AF-2221-278A-4A9E9E9D6330}"/>
              </a:ext>
            </a:extLst>
          </p:cNvPr>
          <p:cNvSpPr txBox="1"/>
          <p:nvPr/>
        </p:nvSpPr>
        <p:spPr>
          <a:xfrm>
            <a:off x="246888" y="73152"/>
            <a:ext cx="38587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Effective Prompt Writing</a:t>
            </a:r>
          </a:p>
        </p:txBody>
      </p:sp>
    </p:spTree>
    <p:extLst>
      <p:ext uri="{BB962C8B-B14F-4D97-AF65-F5344CB8AC3E}">
        <p14:creationId xmlns:p14="http://schemas.microsoft.com/office/powerpoint/2010/main" val="1030810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EB972B-9FCD-8E35-4463-183E0F82279A}"/>
              </a:ext>
            </a:extLst>
          </p:cNvPr>
          <p:cNvPicPr>
            <a:picLocks noChangeAspect="1"/>
          </p:cNvPicPr>
          <p:nvPr/>
        </p:nvPicPr>
        <p:blipFill>
          <a:blip r:embed="rId2"/>
          <a:stretch>
            <a:fillRect/>
          </a:stretch>
        </p:blipFill>
        <p:spPr>
          <a:xfrm>
            <a:off x="736935" y="293335"/>
            <a:ext cx="6731346" cy="1333569"/>
          </a:xfrm>
          <a:prstGeom prst="rect">
            <a:avLst/>
          </a:prstGeom>
        </p:spPr>
      </p:pic>
      <p:pic>
        <p:nvPicPr>
          <p:cNvPr id="9" name="Picture 8">
            <a:extLst>
              <a:ext uri="{FF2B5EF4-FFF2-40B4-BE49-F238E27FC236}">
                <a16:creationId xmlns:a16="http://schemas.microsoft.com/office/drawing/2014/main" id="{DECB84FF-F05F-7B75-008A-46D89333A1AE}"/>
              </a:ext>
            </a:extLst>
          </p:cNvPr>
          <p:cNvPicPr>
            <a:picLocks noChangeAspect="1"/>
          </p:cNvPicPr>
          <p:nvPr/>
        </p:nvPicPr>
        <p:blipFill>
          <a:blip r:embed="rId3"/>
          <a:stretch>
            <a:fillRect/>
          </a:stretch>
        </p:blipFill>
        <p:spPr>
          <a:xfrm>
            <a:off x="736935" y="1828799"/>
            <a:ext cx="8502258" cy="4133089"/>
          </a:xfrm>
          <a:prstGeom prst="rect">
            <a:avLst/>
          </a:prstGeom>
        </p:spPr>
      </p:pic>
      <p:sp>
        <p:nvSpPr>
          <p:cNvPr id="10" name="TextBox 9">
            <a:extLst>
              <a:ext uri="{FF2B5EF4-FFF2-40B4-BE49-F238E27FC236}">
                <a16:creationId xmlns:a16="http://schemas.microsoft.com/office/drawing/2014/main" id="{2C46FFC8-2023-5521-6A1E-89B9AAD16B65}"/>
              </a:ext>
            </a:extLst>
          </p:cNvPr>
          <p:cNvSpPr txBox="1"/>
          <p:nvPr/>
        </p:nvSpPr>
        <p:spPr>
          <a:xfrm>
            <a:off x="7708392" y="572946"/>
            <a:ext cx="3136392" cy="646331"/>
          </a:xfrm>
          <a:prstGeom prst="rect">
            <a:avLst/>
          </a:prstGeom>
          <a:noFill/>
        </p:spPr>
        <p:txBody>
          <a:bodyPr wrap="square" rtlCol="0">
            <a:spAutoFit/>
          </a:bodyPr>
          <a:lstStyle/>
          <a:p>
            <a:r>
              <a:rPr lang="en-US" b="1"/>
              <a:t>Agent force for Developers Extension</a:t>
            </a:r>
          </a:p>
        </p:txBody>
      </p:sp>
      <p:sp>
        <p:nvSpPr>
          <p:cNvPr id="11" name="TextBox 10">
            <a:extLst>
              <a:ext uri="{FF2B5EF4-FFF2-40B4-BE49-F238E27FC236}">
                <a16:creationId xmlns:a16="http://schemas.microsoft.com/office/drawing/2014/main" id="{8FE26D46-65C3-E8EE-8D19-8E67AE10B672}"/>
              </a:ext>
            </a:extLst>
          </p:cNvPr>
          <p:cNvSpPr txBox="1"/>
          <p:nvPr/>
        </p:nvSpPr>
        <p:spPr>
          <a:xfrm>
            <a:off x="9422892" y="2828835"/>
            <a:ext cx="2674620" cy="1200329"/>
          </a:xfrm>
          <a:prstGeom prst="rect">
            <a:avLst/>
          </a:prstGeom>
          <a:noFill/>
        </p:spPr>
        <p:txBody>
          <a:bodyPr wrap="square" rtlCol="0">
            <a:spAutoFit/>
          </a:bodyPr>
          <a:lstStyle/>
          <a:p>
            <a:r>
              <a:rPr lang="en-US" b="1"/>
              <a:t>Extension Will be Available as per the Screen Shot, Chat with Dev Assistant</a:t>
            </a:r>
          </a:p>
        </p:txBody>
      </p:sp>
    </p:spTree>
    <p:extLst>
      <p:ext uri="{BB962C8B-B14F-4D97-AF65-F5344CB8AC3E}">
        <p14:creationId xmlns:p14="http://schemas.microsoft.com/office/powerpoint/2010/main" val="3964238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2BF39-94F6-D4C3-0EED-C19CA6AA7964}"/>
            </a:ext>
          </a:extLst>
        </p:cNvPr>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BBAA940-90FB-8335-54E6-C722D24673FD}"/>
              </a:ext>
            </a:extLst>
          </p:cNvPr>
          <p:cNvSpPr>
            <a:spLocks noGrp="1"/>
          </p:cNvSpPr>
          <p:nvPr>
            <p:ph type="pic" sz="quarter" idx="10"/>
          </p:nvPr>
        </p:nvSpPr>
        <p:spPr>
          <a:xfrm>
            <a:off x="-11573" y="49974"/>
            <a:ext cx="12192000" cy="6478842"/>
          </a:xfrm>
        </p:spPr>
        <p:txBody>
          <a:bodyPr/>
          <a:lstStyle/>
          <a:p>
            <a:r>
              <a:rPr lang="en-US"/>
              <a:t> </a:t>
            </a:r>
          </a:p>
        </p:txBody>
      </p:sp>
      <p:sp>
        <p:nvSpPr>
          <p:cNvPr id="2" name="Title 1">
            <a:extLst>
              <a:ext uri="{FF2B5EF4-FFF2-40B4-BE49-F238E27FC236}">
                <a16:creationId xmlns:a16="http://schemas.microsoft.com/office/drawing/2014/main" id="{802A3BEF-5E21-FF89-9D38-0209DEF529FE}"/>
              </a:ext>
            </a:extLst>
          </p:cNvPr>
          <p:cNvSpPr>
            <a:spLocks noGrp="1"/>
          </p:cNvSpPr>
          <p:nvPr>
            <p:ph type="ctrTitle"/>
          </p:nvPr>
        </p:nvSpPr>
        <p:spPr>
          <a:xfrm>
            <a:off x="162782" y="379158"/>
            <a:ext cx="11386134" cy="412608"/>
          </a:xfrm>
        </p:spPr>
        <p:txBody>
          <a:bodyPr>
            <a:normAutofit/>
          </a:bodyPr>
          <a:lstStyle/>
          <a:p>
            <a:r>
              <a:rPr lang="en-US" sz="2800"/>
              <a:t>Prompt Library</a:t>
            </a:r>
            <a:endParaRPr lang="en-IN" sz="2800"/>
          </a:p>
        </p:txBody>
      </p:sp>
      <p:sp>
        <p:nvSpPr>
          <p:cNvPr id="10" name="Subtitle 9">
            <a:extLst>
              <a:ext uri="{FF2B5EF4-FFF2-40B4-BE49-F238E27FC236}">
                <a16:creationId xmlns:a16="http://schemas.microsoft.com/office/drawing/2014/main" id="{561D6971-F1A3-DC00-6A3C-0566251787A5}"/>
              </a:ext>
            </a:extLst>
          </p:cNvPr>
          <p:cNvSpPr>
            <a:spLocks noGrp="1"/>
          </p:cNvSpPr>
          <p:nvPr>
            <p:ph type="subTitle" idx="1"/>
          </p:nvPr>
        </p:nvSpPr>
        <p:spPr/>
        <p:txBody>
          <a:bodyPr/>
          <a:lstStyle/>
          <a:p>
            <a:r>
              <a:rPr lang="en-US"/>
              <a:t> </a:t>
            </a:r>
          </a:p>
        </p:txBody>
      </p:sp>
      <p:graphicFrame>
        <p:nvGraphicFramePr>
          <p:cNvPr id="6" name="Table 5">
            <a:extLst>
              <a:ext uri="{FF2B5EF4-FFF2-40B4-BE49-F238E27FC236}">
                <a16:creationId xmlns:a16="http://schemas.microsoft.com/office/drawing/2014/main" id="{218F8778-0A2E-8AD2-6468-1DA6F0F2E2EF}"/>
              </a:ext>
            </a:extLst>
          </p:cNvPr>
          <p:cNvGraphicFramePr>
            <a:graphicFrameLocks noGrp="1"/>
          </p:cNvGraphicFramePr>
          <p:nvPr>
            <p:extLst>
              <p:ext uri="{D42A27DB-BD31-4B8C-83A1-F6EECF244321}">
                <p14:modId xmlns:p14="http://schemas.microsoft.com/office/powerpoint/2010/main" val="4139538286"/>
              </p:ext>
            </p:extLst>
          </p:nvPr>
        </p:nvGraphicFramePr>
        <p:xfrm>
          <a:off x="23146" y="1261968"/>
          <a:ext cx="12168854" cy="5546058"/>
        </p:xfrm>
        <a:graphic>
          <a:graphicData uri="http://schemas.openxmlformats.org/drawingml/2006/table">
            <a:tbl>
              <a:tblPr firstRow="1" bandRow="1">
                <a:tableStyleId>{5C22544A-7EE6-4342-B048-85BDC9FD1C3A}</a:tableStyleId>
              </a:tblPr>
              <a:tblGrid>
                <a:gridCol w="5093827">
                  <a:extLst>
                    <a:ext uri="{9D8B030D-6E8A-4147-A177-3AD203B41FA5}">
                      <a16:colId xmlns:a16="http://schemas.microsoft.com/office/drawing/2014/main" val="1541825046"/>
                    </a:ext>
                  </a:extLst>
                </a:gridCol>
                <a:gridCol w="7075027">
                  <a:extLst>
                    <a:ext uri="{9D8B030D-6E8A-4147-A177-3AD203B41FA5}">
                      <a16:colId xmlns:a16="http://schemas.microsoft.com/office/drawing/2014/main" val="3688696365"/>
                    </a:ext>
                  </a:extLst>
                </a:gridCol>
              </a:tblGrid>
              <a:tr h="346245">
                <a:tc>
                  <a:txBody>
                    <a:bodyPr/>
                    <a:lstStyle/>
                    <a:p>
                      <a:r>
                        <a:rPr lang="en-US"/>
                        <a:t>Prompt</a:t>
                      </a:r>
                    </a:p>
                  </a:txBody>
                  <a:tcPr/>
                </a:tc>
                <a:tc>
                  <a:txBody>
                    <a:bodyPr/>
                    <a:lstStyle/>
                    <a:p>
                      <a:r>
                        <a:rPr lang="en-US"/>
                        <a:t>Prompt Example</a:t>
                      </a:r>
                    </a:p>
                  </a:txBody>
                  <a:tcPr/>
                </a:tc>
                <a:extLst>
                  <a:ext uri="{0D108BD9-81ED-4DB2-BD59-A6C34878D82A}">
                    <a16:rowId xmlns:a16="http://schemas.microsoft.com/office/drawing/2014/main" val="3246189085"/>
                  </a:ext>
                </a:extLst>
              </a:tr>
              <a:tr h="1904349">
                <a:tc>
                  <a:txBody>
                    <a:bodyPr/>
                    <a:lstStyle/>
                    <a:p>
                      <a:r>
                        <a:rPr lang="en-US" sz="1400">
                          <a:latin typeface="Ubuntu" panose="020B0504030602030204" pitchFamily="34" charset="0"/>
                        </a:rPr>
                        <a:t>Generate/modify the “Class Name” for  “Method Name” to add a condition specific to criteria.</a:t>
                      </a:r>
                    </a:p>
                    <a:p>
                      <a:endParaRPr lang="en-US" sz="1400">
                        <a:latin typeface="Ubuntu" panose="020B05040306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Ubuntu" panose="020B0504030602030204" pitchFamily="34" charset="0"/>
                        </a:rPr>
                        <a:t>Generate/modify the “Method Name” in “Class Name” to add a condition specific to criteria.</a:t>
                      </a:r>
                    </a:p>
                    <a:p>
                      <a:endParaRPr lang="en-US" sz="1400">
                        <a:latin typeface="Ubuntu" panose="020B0504030602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Ubuntu" panose="020B0504030602030204" pitchFamily="34" charset="0"/>
                        </a:rPr>
                        <a:t>1) Generate/Modify the “ </a:t>
                      </a:r>
                      <a:r>
                        <a:rPr lang="en-US" sz="1400" err="1">
                          <a:latin typeface="Ubuntu" panose="020B0504030602030204" pitchFamily="34" charset="0"/>
                        </a:rPr>
                        <a:t>IAP_BinCreation</a:t>
                      </a:r>
                      <a:r>
                        <a:rPr lang="en-US" sz="1400">
                          <a:latin typeface="Ubuntu" panose="020B0504030602030204" pitchFamily="34" charset="0"/>
                        </a:rPr>
                        <a:t>”  in method “checkandUpdateBinLocation2” to update the inventory only for logged in user country = </a:t>
                      </a:r>
                      <a:r>
                        <a:rPr lang="en-US" sz="1400" err="1">
                          <a:latin typeface="Ubuntu" panose="020B0504030602030204" pitchFamily="34" charset="0"/>
                        </a:rPr>
                        <a:t>india</a:t>
                      </a:r>
                      <a:r>
                        <a:rPr lang="en-US" sz="1400">
                          <a:latin typeface="Ubuntu" panose="020B050403060203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Ubuntu" panose="020B0504030602030204" pitchFamily="34" charset="0"/>
                        </a:rPr>
                        <a:t>2</a:t>
                      </a:r>
                      <a:r>
                        <a:rPr lang="en-US" sz="1400" kern="1200">
                          <a:solidFill>
                            <a:schemeClr val="dk1"/>
                          </a:solidFill>
                          <a:latin typeface="Ubuntu" panose="020B0504030602030204" pitchFamily="34" charset="0"/>
                          <a:ea typeface="+mn-ea"/>
                          <a:cs typeface="+mn-cs"/>
                        </a:rPr>
                        <a:t>) Change the method (</a:t>
                      </a:r>
                      <a:r>
                        <a:rPr lang="en-US" sz="1400" kern="1200" err="1">
                          <a:solidFill>
                            <a:schemeClr val="dk1"/>
                          </a:solidFill>
                          <a:latin typeface="Ubuntu" panose="020B0504030602030204" pitchFamily="34" charset="0"/>
                          <a:ea typeface="+mn-ea"/>
                          <a:cs typeface="+mn-cs"/>
                        </a:rPr>
                        <a:t>handleAfterAssetInsert</a:t>
                      </a:r>
                      <a:r>
                        <a:rPr lang="en-US" sz="1400" kern="1200">
                          <a:solidFill>
                            <a:schemeClr val="dk1"/>
                          </a:solidFill>
                          <a:latin typeface="Ubuntu" panose="020B0504030602030204" pitchFamily="34" charset="0"/>
                          <a:ea typeface="+mn-ea"/>
                          <a:cs typeface="+mn-cs"/>
                        </a:rPr>
                        <a:t>) in Class “ IAP_AssetTriggerHandler” to add  a field on </a:t>
                      </a:r>
                      <a:r>
                        <a:rPr lang="en-US" sz="1400" kern="1200" err="1">
                          <a:solidFill>
                            <a:schemeClr val="dk1"/>
                          </a:solidFill>
                          <a:latin typeface="Ubuntu" panose="020B0504030602030204" pitchFamily="34" charset="0"/>
                          <a:ea typeface="+mn-ea"/>
                          <a:cs typeface="+mn-cs"/>
                        </a:rPr>
                        <a:t>IAP_Service_Reminder__c</a:t>
                      </a:r>
                      <a:r>
                        <a:rPr lang="en-US" sz="1400" kern="1200">
                          <a:solidFill>
                            <a:schemeClr val="dk1"/>
                          </a:solidFill>
                          <a:latin typeface="Ubuntu" panose="020B0504030602030204" pitchFamily="34" charset="0"/>
                          <a:ea typeface="+mn-ea"/>
                          <a:cs typeface="+mn-cs"/>
                        </a:rPr>
                        <a:t> with Field name 'Name' = 'Test Japan' with the condition only if the logged in user country= 'Japa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latin typeface="Ubuntu" panose="020B0504030602030204" pitchFamily="34" charset="0"/>
                      </a:endParaRPr>
                    </a:p>
                    <a:p>
                      <a:endParaRPr lang="en-US" sz="1400">
                        <a:latin typeface="Ubuntu" panose="020B0504030602030204" pitchFamily="34" charset="0"/>
                      </a:endParaRPr>
                    </a:p>
                  </a:txBody>
                  <a:tcPr/>
                </a:tc>
                <a:extLst>
                  <a:ext uri="{0D108BD9-81ED-4DB2-BD59-A6C34878D82A}">
                    <a16:rowId xmlns:a16="http://schemas.microsoft.com/office/drawing/2014/main" val="1344266718"/>
                  </a:ext>
                </a:extLst>
              </a:tr>
              <a:tr h="1300371">
                <a:tc>
                  <a:txBody>
                    <a:bodyPr/>
                    <a:lstStyle/>
                    <a:p>
                      <a:r>
                        <a:rPr lang="en-US" sz="1400" kern="1200">
                          <a:solidFill>
                            <a:schemeClr val="dk1"/>
                          </a:solidFill>
                          <a:latin typeface="Ubuntu" panose="020B0504030602030204" pitchFamily="34" charset="0"/>
                          <a:ea typeface="+mn-ea"/>
                          <a:cs typeface="+mn-cs"/>
                        </a:rPr>
                        <a:t>Generate an Apex class with </a:t>
                      </a:r>
                      <a:r>
                        <a:rPr lang="en-US" sz="1400" kern="1200">
                          <a:solidFill>
                            <a:schemeClr val="accent1"/>
                          </a:solidFill>
                          <a:latin typeface="Ubuntu" panose="020B0504030602030204" pitchFamily="34" charset="0"/>
                          <a:ea typeface="+mn-ea"/>
                          <a:cs typeface="+mn-cs"/>
                        </a:rPr>
                        <a:t>Action</a:t>
                      </a:r>
                      <a:r>
                        <a:rPr lang="en-US" sz="1400" kern="1200">
                          <a:solidFill>
                            <a:schemeClr val="dk1"/>
                          </a:solidFill>
                          <a:latin typeface="Ubuntu" panose="020B0504030602030204" pitchFamily="34" charset="0"/>
                          <a:ea typeface="+mn-ea"/>
                          <a:cs typeface="+mn-cs"/>
                        </a:rPr>
                        <a:t>, </a:t>
                      </a:r>
                      <a:r>
                        <a:rPr lang="en-US" sz="1400" kern="1200">
                          <a:solidFill>
                            <a:schemeClr val="accent6">
                              <a:lumMod val="75000"/>
                            </a:schemeClr>
                          </a:solidFill>
                          <a:latin typeface="Ubuntu" panose="020B0504030602030204" pitchFamily="34" charset="0"/>
                          <a:ea typeface="+mn-ea"/>
                          <a:cs typeface="+mn-cs"/>
                        </a:rPr>
                        <a:t>Context details</a:t>
                      </a:r>
                      <a:r>
                        <a:rPr lang="en-US" sz="1400" kern="1200">
                          <a:solidFill>
                            <a:schemeClr val="dk1"/>
                          </a:solidFill>
                          <a:latin typeface="Ubuntu" panose="020B0504030602030204" pitchFamily="34" charset="0"/>
                          <a:ea typeface="+mn-ea"/>
                          <a:cs typeface="+mn-cs"/>
                        </a:rPr>
                        <a:t>, </a:t>
                      </a:r>
                      <a:r>
                        <a:rPr lang="en-US" sz="1400" kern="1200">
                          <a:solidFill>
                            <a:srgbClr val="00C37B"/>
                          </a:solidFill>
                          <a:latin typeface="Ubuntu" panose="020B0504030602030204" pitchFamily="34" charset="0"/>
                          <a:ea typeface="+mn-ea"/>
                          <a:cs typeface="+mn-cs"/>
                        </a:rPr>
                        <a:t>Best practices </a:t>
                      </a:r>
                      <a:r>
                        <a:rPr lang="en-US" sz="1400" kern="1200">
                          <a:solidFill>
                            <a:schemeClr val="dk1"/>
                          </a:solidFill>
                          <a:latin typeface="Ubuntu" panose="020B0504030602030204" pitchFamily="34" charset="0"/>
                          <a:ea typeface="+mn-ea"/>
                          <a:cs typeface="+mn-cs"/>
                        </a:rPr>
                        <a:t>and </a:t>
                      </a:r>
                      <a:r>
                        <a:rPr lang="en-US" sz="1400" kern="1200">
                          <a:solidFill>
                            <a:srgbClr val="FF0000"/>
                          </a:solidFill>
                          <a:latin typeface="Ubuntu" panose="020B0504030602030204" pitchFamily="34" charset="0"/>
                          <a:ea typeface="+mn-ea"/>
                          <a:cs typeface="+mn-cs"/>
                        </a:rPr>
                        <a:t>Additional context</a:t>
                      </a:r>
                      <a:r>
                        <a:rPr lang="en-US" sz="1400" kern="1200">
                          <a:solidFill>
                            <a:schemeClr val="accent6"/>
                          </a:solidFill>
                          <a:latin typeface="Ubuntu" panose="020B0504030602030204" pitchFamily="34" charset="0"/>
                          <a:ea typeface="+mn-ea"/>
                          <a:cs typeface="+mn-cs"/>
                        </a:rPr>
                        <a:t>. </a:t>
                      </a:r>
                      <a:r>
                        <a:rPr lang="en-US" sz="1400" kern="1200">
                          <a:solidFill>
                            <a:schemeClr val="dk1"/>
                          </a:solidFill>
                          <a:latin typeface="Ubuntu" panose="020B0504030602030204" pitchFamily="34" charset="0"/>
                          <a:ea typeface="+mn-ea"/>
                          <a:cs typeface="+mn-cs"/>
                        </a:rPr>
                        <a:t>Refer the above Slide  in details</a:t>
                      </a:r>
                    </a:p>
                  </a:txBody>
                  <a:tcPr/>
                </a:tc>
                <a:tc>
                  <a:txBody>
                    <a:bodyPr/>
                    <a:lstStyle/>
                    <a:p>
                      <a:r>
                        <a:rPr lang="en-US" sz="1400" kern="1200">
                          <a:solidFill>
                            <a:schemeClr val="accent1"/>
                          </a:solidFill>
                          <a:latin typeface="Ubuntu" panose="020B0504030602030204" pitchFamily="34" charset="0"/>
                          <a:ea typeface="+mn-ea"/>
                          <a:cs typeface="+mn-cs"/>
                        </a:rPr>
                        <a:t>Create an Apex batch class named OpenPositionMatcher</a:t>
                      </a:r>
                      <a:r>
                        <a:rPr lang="en-US" sz="1400" kern="1200">
                          <a:solidFill>
                            <a:schemeClr val="accent6">
                              <a:lumMod val="75000"/>
                            </a:schemeClr>
                          </a:solidFill>
                          <a:latin typeface="Ubuntu" panose="020B0504030602030204" pitchFamily="34" charset="0"/>
                          <a:ea typeface="+mn-ea"/>
                          <a:cs typeface="+mn-cs"/>
                        </a:rPr>
                        <a:t> </a:t>
                      </a:r>
                      <a:r>
                        <a:rPr lang="en-US" sz="1400" b="1" kern="1200">
                          <a:solidFill>
                            <a:schemeClr val="accent6">
                              <a:lumMod val="75000"/>
                            </a:schemeClr>
                          </a:solidFill>
                          <a:latin typeface="Ubuntu" panose="020B0504030602030204" pitchFamily="34" charset="0"/>
                          <a:ea typeface="+mn-ea"/>
                          <a:cs typeface="+mn-cs"/>
                        </a:rPr>
                        <a:t>that processes custom objects Position__c records created within the past 15 days. The class should match these open positions with suitable candidates based on their skills</a:t>
                      </a:r>
                      <a:r>
                        <a:rPr lang="en-US" sz="1400" b="1" kern="1200">
                          <a:solidFill>
                            <a:schemeClr val="dk1"/>
                          </a:solidFill>
                          <a:latin typeface="Ubuntu" panose="020B0504030602030204" pitchFamily="34" charset="0"/>
                          <a:ea typeface="+mn-ea"/>
                          <a:cs typeface="+mn-cs"/>
                        </a:rPr>
                        <a:t>. </a:t>
                      </a:r>
                      <a:r>
                        <a:rPr lang="en-US" sz="1400" kern="1200">
                          <a:solidFill>
                            <a:srgbClr val="00C37B"/>
                          </a:solidFill>
                          <a:latin typeface="Ubuntu" panose="020B0504030602030204" pitchFamily="34" charset="0"/>
                          <a:ea typeface="+mn-ea"/>
                          <a:cs typeface="+mn-cs"/>
                        </a:rPr>
                        <a:t>Order the results by candidate names in descending order. Make sure the generated code follows security best practices. Separate operators with a new line.</a:t>
                      </a:r>
                      <a:r>
                        <a:rPr lang="en-US" sz="1400" kern="1200">
                          <a:solidFill>
                            <a:schemeClr val="dk1"/>
                          </a:solidFill>
                          <a:latin typeface="Ubuntu" panose="020B0504030602030204" pitchFamily="34" charset="0"/>
                          <a:ea typeface="+mn-ea"/>
                          <a:cs typeface="+mn-cs"/>
                        </a:rPr>
                        <a:t> </a:t>
                      </a:r>
                      <a:r>
                        <a:rPr lang="en-US" sz="1400" b="1" kern="1200">
                          <a:solidFill>
                            <a:srgbClr val="FF0000"/>
                          </a:solidFill>
                          <a:latin typeface="Ubuntu" panose="020B0504030602030204" pitchFamily="34" charset="0"/>
                          <a:ea typeface="+mn-ea"/>
                          <a:cs typeface="+mn-cs"/>
                        </a:rPr>
                        <a:t>The class is used in an LWC component</a:t>
                      </a:r>
                    </a:p>
                  </a:txBody>
                  <a:tcPr/>
                </a:tc>
                <a:extLst>
                  <a:ext uri="{0D108BD9-81ED-4DB2-BD59-A6C34878D82A}">
                    <a16:rowId xmlns:a16="http://schemas.microsoft.com/office/drawing/2014/main" val="2088897075"/>
                  </a:ext>
                </a:extLst>
              </a:tr>
              <a:tr h="1904349">
                <a:tc>
                  <a:txBody>
                    <a:bodyPr/>
                    <a:lstStyle/>
                    <a:p>
                      <a:r>
                        <a:rPr lang="en-US" sz="1400" kern="1200">
                          <a:solidFill>
                            <a:schemeClr val="dk1"/>
                          </a:solidFill>
                          <a:latin typeface="Ubuntu" panose="020B0504030602030204" pitchFamily="34" charset="0"/>
                          <a:ea typeface="+mn-ea"/>
                          <a:cs typeface="+mn-cs"/>
                        </a:rPr>
                        <a:t>Generate an Apex with LWC component to generate the user story details</a:t>
                      </a:r>
                    </a:p>
                  </a:txBody>
                  <a:tcPr/>
                </a:tc>
                <a:tc>
                  <a:txBody>
                    <a:bodyPr/>
                    <a:lstStyle/>
                    <a:p>
                      <a:r>
                        <a:rPr lang="en-US" sz="1400" kern="1200">
                          <a:solidFill>
                            <a:schemeClr val="dk1"/>
                          </a:solidFill>
                          <a:latin typeface="Ubuntu" panose="020B0504030602030204" pitchFamily="34" charset="0"/>
                          <a:ea typeface="+mn-ea"/>
                          <a:cs typeface="+mn-cs"/>
                        </a:rPr>
                        <a:t>Create a LWC component and Apex class to generate a custom list view with the following field from case with respect to Asset id  system should show, all the records of the VIN as ' Case History' . Section Field Name Remarks List view Line Items Validation: From 1 . incremental number . Case Number Fetch from case object . Case Status Fetch from case object . Date Opened Fetch from case object Date Closed Fetch from case object Date Reopened Fetch from case object . Subject Fetch from case object . Case Category Fetch from case object . Case Type Fetch from case object</a:t>
                      </a:r>
                    </a:p>
                    <a:p>
                      <a:endParaRPr lang="en-US" sz="1400" kern="1200">
                        <a:solidFill>
                          <a:schemeClr val="dk1"/>
                        </a:solidFill>
                        <a:latin typeface="Ubuntu" panose="020B0504030602030204" pitchFamily="34" charset="0"/>
                        <a:ea typeface="+mn-ea"/>
                        <a:cs typeface="+mn-cs"/>
                      </a:endParaRPr>
                    </a:p>
                  </a:txBody>
                  <a:tcPr/>
                </a:tc>
                <a:extLst>
                  <a:ext uri="{0D108BD9-81ED-4DB2-BD59-A6C34878D82A}">
                    <a16:rowId xmlns:a16="http://schemas.microsoft.com/office/drawing/2014/main" val="511463673"/>
                  </a:ext>
                </a:extLst>
              </a:tr>
            </a:tbl>
          </a:graphicData>
        </a:graphic>
      </p:graphicFrame>
    </p:spTree>
    <p:extLst>
      <p:ext uri="{BB962C8B-B14F-4D97-AF65-F5344CB8AC3E}">
        <p14:creationId xmlns:p14="http://schemas.microsoft.com/office/powerpoint/2010/main" val="21313941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CD8E1-C12D-43A6-DA82-813F3BF89CAB}"/>
            </a:ext>
          </a:extLst>
        </p:cNvPr>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5D9016C-1D78-B68D-095A-26B704AB4D76}"/>
              </a:ext>
            </a:extLst>
          </p:cNvPr>
          <p:cNvSpPr>
            <a:spLocks noGrp="1"/>
          </p:cNvSpPr>
          <p:nvPr>
            <p:ph type="pic" sz="quarter" idx="10"/>
          </p:nvPr>
        </p:nvSpPr>
        <p:spPr>
          <a:xfrm>
            <a:off x="1180173" y="1252728"/>
            <a:ext cx="9168384" cy="5493288"/>
          </a:xfrm>
        </p:spPr>
        <p:txBody>
          <a:bodyPr/>
          <a:lstStyle/>
          <a:p>
            <a:r>
              <a:rPr lang="en-US"/>
              <a:t> </a:t>
            </a:r>
          </a:p>
        </p:txBody>
      </p:sp>
      <p:sp>
        <p:nvSpPr>
          <p:cNvPr id="2" name="Title 1">
            <a:extLst>
              <a:ext uri="{FF2B5EF4-FFF2-40B4-BE49-F238E27FC236}">
                <a16:creationId xmlns:a16="http://schemas.microsoft.com/office/drawing/2014/main" id="{0F9C1849-BD83-C8ED-CAA8-70277CF6CB73}"/>
              </a:ext>
            </a:extLst>
          </p:cNvPr>
          <p:cNvSpPr>
            <a:spLocks noGrp="1"/>
          </p:cNvSpPr>
          <p:nvPr>
            <p:ph type="ctrTitle"/>
          </p:nvPr>
        </p:nvSpPr>
        <p:spPr/>
        <p:txBody>
          <a:bodyPr>
            <a:normAutofit/>
          </a:bodyPr>
          <a:lstStyle/>
          <a:p>
            <a:r>
              <a:rPr lang="en-US" sz="2800"/>
              <a:t>Prompt Library</a:t>
            </a:r>
            <a:endParaRPr lang="en-IN" sz="2800"/>
          </a:p>
        </p:txBody>
      </p:sp>
      <p:sp>
        <p:nvSpPr>
          <p:cNvPr id="3" name="Subtitle 2">
            <a:extLst>
              <a:ext uri="{FF2B5EF4-FFF2-40B4-BE49-F238E27FC236}">
                <a16:creationId xmlns:a16="http://schemas.microsoft.com/office/drawing/2014/main" id="{59C93408-3FEE-2FFA-854F-4A49546E02A6}"/>
              </a:ext>
            </a:extLst>
          </p:cNvPr>
          <p:cNvSpPr>
            <a:spLocks noGrp="1"/>
          </p:cNvSpPr>
          <p:nvPr>
            <p:ph type="subTitle" idx="1"/>
          </p:nvPr>
        </p:nvSpPr>
        <p:spPr>
          <a:xfrm>
            <a:off x="106947" y="527471"/>
            <a:ext cx="11386134" cy="430887"/>
          </a:xfrm>
        </p:spPr>
        <p:txBody>
          <a:bodyPr/>
          <a:lstStyle/>
          <a:p>
            <a:r>
              <a:rPr lang="en-US" sz="2800"/>
              <a:t>Prompt Library</a:t>
            </a:r>
          </a:p>
        </p:txBody>
      </p:sp>
      <p:graphicFrame>
        <p:nvGraphicFramePr>
          <p:cNvPr id="6" name="Table 5">
            <a:extLst>
              <a:ext uri="{FF2B5EF4-FFF2-40B4-BE49-F238E27FC236}">
                <a16:creationId xmlns:a16="http://schemas.microsoft.com/office/drawing/2014/main" id="{044010A5-ED10-403F-E698-CE12489B8DBC}"/>
              </a:ext>
            </a:extLst>
          </p:cNvPr>
          <p:cNvGraphicFramePr>
            <a:graphicFrameLocks noGrp="1"/>
          </p:cNvGraphicFramePr>
          <p:nvPr>
            <p:extLst>
              <p:ext uri="{D42A27DB-BD31-4B8C-83A1-F6EECF244321}">
                <p14:modId xmlns:p14="http://schemas.microsoft.com/office/powerpoint/2010/main" val="2917143668"/>
              </p:ext>
            </p:extLst>
          </p:nvPr>
        </p:nvGraphicFramePr>
        <p:xfrm>
          <a:off x="106947" y="1131624"/>
          <a:ext cx="12017319" cy="5581365"/>
        </p:xfrm>
        <a:graphic>
          <a:graphicData uri="http://schemas.openxmlformats.org/drawingml/2006/table">
            <a:tbl>
              <a:tblPr firstRow="1" bandRow="1">
                <a:tableStyleId>{5C22544A-7EE6-4342-B048-85BDC9FD1C3A}</a:tableStyleId>
              </a:tblPr>
              <a:tblGrid>
                <a:gridCol w="5716140">
                  <a:extLst>
                    <a:ext uri="{9D8B030D-6E8A-4147-A177-3AD203B41FA5}">
                      <a16:colId xmlns:a16="http://schemas.microsoft.com/office/drawing/2014/main" val="1541825046"/>
                    </a:ext>
                  </a:extLst>
                </a:gridCol>
                <a:gridCol w="6301179">
                  <a:extLst>
                    <a:ext uri="{9D8B030D-6E8A-4147-A177-3AD203B41FA5}">
                      <a16:colId xmlns:a16="http://schemas.microsoft.com/office/drawing/2014/main" val="3688696365"/>
                    </a:ext>
                  </a:extLst>
                </a:gridCol>
              </a:tblGrid>
              <a:tr h="357836">
                <a:tc>
                  <a:txBody>
                    <a:bodyPr/>
                    <a:lstStyle/>
                    <a:p>
                      <a:r>
                        <a:rPr lang="en-US"/>
                        <a:t>Prompt Format/Usage case</a:t>
                      </a:r>
                    </a:p>
                  </a:txBody>
                  <a:tcPr/>
                </a:tc>
                <a:tc>
                  <a:txBody>
                    <a:bodyPr/>
                    <a:lstStyle/>
                    <a:p>
                      <a:r>
                        <a:rPr lang="en-US"/>
                        <a:t>Prompt Example</a:t>
                      </a:r>
                    </a:p>
                  </a:txBody>
                  <a:tcPr/>
                </a:tc>
                <a:extLst>
                  <a:ext uri="{0D108BD9-81ED-4DB2-BD59-A6C34878D82A}">
                    <a16:rowId xmlns:a16="http://schemas.microsoft.com/office/drawing/2014/main" val="3246189085"/>
                  </a:ext>
                </a:extLst>
              </a:tr>
              <a:tr h="682692">
                <a:tc>
                  <a:txBody>
                    <a:bodyPr/>
                    <a:lstStyle/>
                    <a:p>
                      <a:r>
                        <a:rPr lang="en-US" sz="1400" kern="1200">
                          <a:solidFill>
                            <a:schemeClr val="dk1"/>
                          </a:solidFill>
                          <a:latin typeface="Ubuntu" panose="020B0504030602030204" pitchFamily="34" charset="0"/>
                          <a:ea typeface="+mn-ea"/>
                          <a:cs typeface="+mn-cs"/>
                        </a:rPr>
                        <a:t>Please rewrite the trigger/class to use the handler class. Specify the comments and generate test cla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Ubuntu" panose="020B0504030602030204" pitchFamily="34" charset="0"/>
                          <a:ea typeface="+mn-ea"/>
                          <a:cs typeface="+mn-cs"/>
                        </a:rPr>
                        <a:t>Please rewrite this trigger to be </a:t>
                      </a:r>
                      <a:r>
                        <a:rPr lang="en-US" sz="1400" kern="1200" err="1">
                          <a:solidFill>
                            <a:schemeClr val="dk1"/>
                          </a:solidFill>
                          <a:latin typeface="Ubuntu" panose="020B0504030602030204" pitchFamily="34" charset="0"/>
                          <a:ea typeface="+mn-ea"/>
                          <a:cs typeface="+mn-cs"/>
                        </a:rPr>
                        <a:t>bulkified</a:t>
                      </a:r>
                      <a:r>
                        <a:rPr lang="en-US" sz="1400" kern="1200">
                          <a:solidFill>
                            <a:schemeClr val="dk1"/>
                          </a:solidFill>
                          <a:latin typeface="Ubuntu" panose="020B0504030602030204" pitchFamily="34" charset="0"/>
                          <a:ea typeface="+mn-ea"/>
                          <a:cs typeface="+mn-cs"/>
                        </a:rPr>
                        <a:t> and to use a handler. Add lots of comments including a standard header block. And write positive and negative test classes.</a:t>
                      </a:r>
                    </a:p>
                    <a:p>
                      <a:endParaRPr lang="en-US" sz="1400" kern="1200">
                        <a:solidFill>
                          <a:schemeClr val="dk1"/>
                        </a:solidFill>
                        <a:latin typeface="Ubuntu" panose="020B0504030602030204" pitchFamily="34" charset="0"/>
                        <a:ea typeface="+mn-ea"/>
                        <a:cs typeface="+mn-cs"/>
                      </a:endParaRPr>
                    </a:p>
                  </a:txBody>
                  <a:tcPr/>
                </a:tc>
                <a:extLst>
                  <a:ext uri="{0D108BD9-81ED-4DB2-BD59-A6C34878D82A}">
                    <a16:rowId xmlns:a16="http://schemas.microsoft.com/office/drawing/2014/main" val="1344266718"/>
                  </a:ext>
                </a:extLst>
              </a:tr>
              <a:tr h="796005">
                <a:tc>
                  <a:txBody>
                    <a:bodyPr/>
                    <a:lstStyle/>
                    <a:p>
                      <a:r>
                        <a:rPr lang="en-US" sz="1400" kern="1200">
                          <a:solidFill>
                            <a:schemeClr val="dk1"/>
                          </a:solidFill>
                          <a:latin typeface="Ubuntu" panose="020B0504030602030204" pitchFamily="34" charset="0"/>
                          <a:ea typeface="+mn-ea"/>
                          <a:cs typeface="+mn-cs"/>
                        </a:rPr>
                        <a:t>Convert a Visualforce page to LWC with Comments/document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kern="1200">
                          <a:solidFill>
                            <a:schemeClr val="dk1"/>
                          </a:solidFill>
                          <a:latin typeface="Ubuntu" panose="020B0504030602030204" pitchFamily="34" charset="0"/>
                          <a:ea typeface="+mn-ea"/>
                          <a:cs typeface="+mn-cs"/>
                        </a:rPr>
                        <a:t>Please convert the VF page to LWC . Please create a Java script and Html files with clear comments.</a:t>
                      </a:r>
                    </a:p>
                    <a:p>
                      <a:endParaRPr lang="en-US" sz="1400" kern="1200">
                        <a:solidFill>
                          <a:schemeClr val="dk1"/>
                        </a:solidFill>
                        <a:latin typeface="Ubuntu" panose="020B0504030602030204" pitchFamily="34" charset="0"/>
                        <a:ea typeface="+mn-ea"/>
                        <a:cs typeface="+mn-cs"/>
                      </a:endParaRPr>
                    </a:p>
                  </a:txBody>
                  <a:tcPr/>
                </a:tc>
                <a:extLst>
                  <a:ext uri="{0D108BD9-81ED-4DB2-BD59-A6C34878D82A}">
                    <a16:rowId xmlns:a16="http://schemas.microsoft.com/office/drawing/2014/main" val="2088897075"/>
                  </a:ext>
                </a:extLst>
              </a:tr>
              <a:tr h="469392">
                <a:tc>
                  <a:txBody>
                    <a:bodyPr/>
                    <a:lstStyle/>
                    <a:p>
                      <a:r>
                        <a:rPr lang="en-US" sz="1400" kern="1200">
                          <a:solidFill>
                            <a:schemeClr val="dk1"/>
                          </a:solidFill>
                          <a:latin typeface="Ubuntu" panose="020B0504030602030204" pitchFamily="34" charset="0"/>
                          <a:ea typeface="+mn-ea"/>
                          <a:cs typeface="+mn-cs"/>
                        </a:rPr>
                        <a:t>Generate LWC components and Communicate between them and Generate the class and test classes with best practi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Ubuntu" panose="020B0504030602030204" pitchFamily="34" charset="0"/>
                          <a:ea typeface="+mn-ea"/>
                          <a:cs typeface="+mn-cs"/>
                        </a:rPr>
                        <a:t>Write one or multiple LWC components and apex classes for the below requirement:</a:t>
                      </a:r>
                      <a:br>
                        <a:rPr lang="en-US" sz="1400" kern="1200">
                          <a:solidFill>
                            <a:schemeClr val="dk1"/>
                          </a:solidFill>
                          <a:latin typeface="Ubuntu" panose="020B0504030602030204" pitchFamily="34" charset="0"/>
                          <a:ea typeface="+mn-ea"/>
                          <a:cs typeface="+mn-cs"/>
                        </a:rPr>
                      </a:br>
                      <a:r>
                        <a:rPr lang="en-US" sz="1400" kern="1200">
                          <a:solidFill>
                            <a:schemeClr val="dk1"/>
                          </a:solidFill>
                          <a:latin typeface="Ubuntu" panose="020B0504030602030204" pitchFamily="34" charset="0"/>
                          <a:ea typeface="+mn-ea"/>
                          <a:cs typeface="+mn-cs"/>
                        </a:rPr>
                        <a:t>First LWC component will display the list of accounts and after clicking any of the account it will display only that account details in a separate component. All the LWC components should communicate with each other in app page using Lightning Message Service.</a:t>
                      </a:r>
                      <a:br>
                        <a:rPr lang="en-US" sz="1400" kern="1200">
                          <a:solidFill>
                            <a:schemeClr val="dk1"/>
                          </a:solidFill>
                          <a:latin typeface="Ubuntu" panose="020B0504030602030204" pitchFamily="34" charset="0"/>
                          <a:ea typeface="+mn-ea"/>
                          <a:cs typeface="+mn-cs"/>
                        </a:rPr>
                      </a:br>
                      <a:r>
                        <a:rPr lang="en-US" sz="1400" kern="1200">
                          <a:solidFill>
                            <a:schemeClr val="dk1"/>
                          </a:solidFill>
                          <a:latin typeface="Ubuntu" panose="020B0504030602030204" pitchFamily="34" charset="0"/>
                          <a:ea typeface="+mn-ea"/>
                          <a:cs typeface="+mn-cs"/>
                        </a:rPr>
                        <a:t>Pl. help with the salesforce development.</a:t>
                      </a:r>
                    </a:p>
                    <a:p>
                      <a:endParaRPr lang="en-US" sz="1400" kern="1200">
                        <a:solidFill>
                          <a:schemeClr val="dk1"/>
                        </a:solidFill>
                        <a:latin typeface="Ubuntu" panose="020B0504030602030204" pitchFamily="34" charset="0"/>
                        <a:ea typeface="+mn-ea"/>
                        <a:cs typeface="+mn-cs"/>
                      </a:endParaRPr>
                    </a:p>
                  </a:txBody>
                  <a:tcPr/>
                </a:tc>
                <a:extLst>
                  <a:ext uri="{0D108BD9-81ED-4DB2-BD59-A6C34878D82A}">
                    <a16:rowId xmlns:a16="http://schemas.microsoft.com/office/drawing/2014/main" val="511463673"/>
                  </a:ext>
                </a:extLst>
              </a:tr>
              <a:tr h="630936">
                <a:tc>
                  <a:txBody>
                    <a:bodyPr/>
                    <a:lstStyle/>
                    <a:p>
                      <a:r>
                        <a:rPr lang="en-US" sz="1400" kern="1200">
                          <a:solidFill>
                            <a:schemeClr val="dk1"/>
                          </a:solidFill>
                          <a:latin typeface="Ubuntu" panose="020B0504030602030204" pitchFamily="34" charset="0"/>
                          <a:ea typeface="+mn-ea"/>
                          <a:cs typeface="+mn-cs"/>
                        </a:rPr>
                        <a:t>Scenario based logic Gener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Ubuntu" panose="020B0504030602030204" pitchFamily="34" charset="0"/>
                          <a:ea typeface="+mn-ea"/>
                          <a:cs typeface="+mn-cs"/>
                        </a:rPr>
                        <a:t>Display the list of accounts with pagination where the related opportunity stages are closed won and has at least one contact with valid email address. This should implement with LWC.</a:t>
                      </a:r>
                    </a:p>
                    <a:p>
                      <a:endParaRPr lang="en-US" sz="1400" kern="1200">
                        <a:solidFill>
                          <a:schemeClr val="dk1"/>
                        </a:solidFill>
                        <a:latin typeface="Ubuntu" panose="020B0504030602030204" pitchFamily="34" charset="0"/>
                        <a:ea typeface="+mn-ea"/>
                        <a:cs typeface="+mn-cs"/>
                      </a:endParaRPr>
                    </a:p>
                  </a:txBody>
                  <a:tcPr/>
                </a:tc>
                <a:extLst>
                  <a:ext uri="{0D108BD9-81ED-4DB2-BD59-A6C34878D82A}">
                    <a16:rowId xmlns:a16="http://schemas.microsoft.com/office/drawing/2014/main" val="715228629"/>
                  </a:ext>
                </a:extLst>
              </a:tr>
              <a:tr h="630936">
                <a:tc>
                  <a:txBody>
                    <a:bodyPr/>
                    <a:lstStyle/>
                    <a:p>
                      <a:r>
                        <a:rPr lang="en-US" sz="1400" kern="1200">
                          <a:solidFill>
                            <a:schemeClr val="dk1"/>
                          </a:solidFill>
                          <a:latin typeface="Ubuntu" panose="020B0504030602030204" pitchFamily="34" charset="0"/>
                          <a:ea typeface="+mn-ea"/>
                          <a:cs typeface="+mn-cs"/>
                        </a:rPr>
                        <a:t>Generate Test class/Code Coverage improvemen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Ubuntu" panose="020B0504030602030204" pitchFamily="34" charset="0"/>
                          <a:ea typeface="+mn-ea"/>
                          <a:cs typeface="+mn-cs"/>
                        </a:rPr>
                        <a:t>Please create test class for above handler code and maintain with 80% of code coverage. </a:t>
                      </a:r>
                      <a:endParaRPr lang="en-IN" sz="1400" kern="1200">
                        <a:solidFill>
                          <a:schemeClr val="dk1"/>
                        </a:solidFill>
                        <a:latin typeface="Ubuntu" panose="020B0504030602030204" pitchFamily="34" charset="0"/>
                        <a:ea typeface="+mn-ea"/>
                        <a:cs typeface="+mn-cs"/>
                      </a:endParaRPr>
                    </a:p>
                    <a:p>
                      <a:endParaRPr lang="en-US" sz="1400" kern="1200">
                        <a:solidFill>
                          <a:schemeClr val="dk1"/>
                        </a:solidFill>
                        <a:latin typeface="Ubuntu" panose="020B0504030602030204" pitchFamily="34" charset="0"/>
                        <a:ea typeface="+mn-ea"/>
                        <a:cs typeface="+mn-cs"/>
                      </a:endParaRPr>
                    </a:p>
                  </a:txBody>
                  <a:tcPr/>
                </a:tc>
                <a:extLst>
                  <a:ext uri="{0D108BD9-81ED-4DB2-BD59-A6C34878D82A}">
                    <a16:rowId xmlns:a16="http://schemas.microsoft.com/office/drawing/2014/main" val="3916640938"/>
                  </a:ext>
                </a:extLst>
              </a:tr>
            </a:tbl>
          </a:graphicData>
        </a:graphic>
      </p:graphicFrame>
    </p:spTree>
    <p:extLst>
      <p:ext uri="{BB962C8B-B14F-4D97-AF65-F5344CB8AC3E}">
        <p14:creationId xmlns:p14="http://schemas.microsoft.com/office/powerpoint/2010/main" val="4033103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88C83-C113-E975-D8A3-664046F2E540}"/>
              </a:ext>
            </a:extLst>
          </p:cNvPr>
          <p:cNvSpPr>
            <a:spLocks noGrp="1"/>
          </p:cNvSpPr>
          <p:nvPr>
            <p:ph type="title" idx="4294967295"/>
          </p:nvPr>
        </p:nvSpPr>
        <p:spPr>
          <a:xfrm>
            <a:off x="0" y="111125"/>
            <a:ext cx="9720263" cy="363062"/>
          </a:xfrm>
        </p:spPr>
        <p:txBody>
          <a:bodyPr>
            <a:noAutofit/>
          </a:bodyPr>
          <a:lstStyle/>
          <a:p>
            <a:r>
              <a:rPr lang="en-US" sz="3600"/>
              <a:t>Prompt Library for Salesforce</a:t>
            </a:r>
          </a:p>
        </p:txBody>
      </p:sp>
      <p:sp>
        <p:nvSpPr>
          <p:cNvPr id="3" name="Content Placeholder 2">
            <a:extLst>
              <a:ext uri="{FF2B5EF4-FFF2-40B4-BE49-F238E27FC236}">
                <a16:creationId xmlns:a16="http://schemas.microsoft.com/office/drawing/2014/main" id="{1E092AC3-B0DE-D93C-60D9-C549CFC1204F}"/>
              </a:ext>
            </a:extLst>
          </p:cNvPr>
          <p:cNvSpPr>
            <a:spLocks noGrp="1"/>
          </p:cNvSpPr>
          <p:nvPr>
            <p:ph idx="4294967295"/>
          </p:nvPr>
        </p:nvSpPr>
        <p:spPr>
          <a:xfrm>
            <a:off x="0" y="292656"/>
            <a:ext cx="11844528" cy="4719557"/>
          </a:xfrm>
        </p:spPr>
        <p:txBody>
          <a:bodyPr>
            <a:normAutofit fontScale="77500" lnSpcReduction="20000"/>
          </a:bodyPr>
          <a:lstStyle/>
          <a:p>
            <a:endParaRPr lang="en-US"/>
          </a:p>
          <a:p>
            <a:r>
              <a:rPr lang="en-US"/>
              <a:t>1) Change the method (checkandUpdateBinLocation2) in class “ </a:t>
            </a:r>
            <a:r>
              <a:rPr lang="en-US" err="1"/>
              <a:t>IAP_BinCreation</a:t>
            </a:r>
            <a:r>
              <a:rPr lang="en-US"/>
              <a:t>” to update the inventory only for logged in user country = </a:t>
            </a:r>
            <a:r>
              <a:rPr lang="en-US" err="1"/>
              <a:t>india</a:t>
            </a:r>
            <a:endParaRPr lang="en-US"/>
          </a:p>
          <a:p>
            <a:r>
              <a:rPr lang="en-US"/>
              <a:t>2) Change the method (handleAfterAssetInsert) in Class “ </a:t>
            </a:r>
            <a:r>
              <a:rPr lang="en-US" err="1"/>
              <a:t>IAP_AssetTriggerHandler</a:t>
            </a:r>
            <a:r>
              <a:rPr lang="en-US"/>
              <a:t>” to add  a field on IAP_Service_Reminder__c with Field name 'Name' = 'Test Japan' with the condition only if the logged in user country= 'Japan’.</a:t>
            </a:r>
          </a:p>
          <a:p>
            <a:r>
              <a:rPr lang="en-US"/>
              <a:t>3)  Modify the 'Search Orders' method  in Class “ </a:t>
            </a:r>
            <a:r>
              <a:rPr lang="en-US" err="1"/>
              <a:t>IAP_OEMPurchase</a:t>
            </a:r>
            <a:r>
              <a:rPr lang="en-US"/>
              <a:t>” to add and additional field in the query with created date.</a:t>
            </a:r>
          </a:p>
          <a:p>
            <a:r>
              <a:rPr lang="en-US"/>
              <a:t>4) </a:t>
            </a:r>
            <a:r>
              <a:rPr lang="en-US" err="1"/>
              <a:t>IAP_AFS_SoRoCreateFromAssetController</a:t>
            </a:r>
            <a:r>
              <a:rPr lang="en-US"/>
              <a:t> class with the method name </a:t>
            </a:r>
            <a:r>
              <a:rPr lang="en-US" err="1"/>
              <a:t>checkSO</a:t>
            </a:r>
            <a:r>
              <a:rPr lang="en-US"/>
              <a:t> to handle </a:t>
            </a:r>
            <a:r>
              <a:rPr lang="en-US" err="1"/>
              <a:t>WorkOrder</a:t>
            </a:r>
            <a:r>
              <a:rPr lang="en-US"/>
              <a:t> checks with </a:t>
            </a:r>
            <a:r>
              <a:rPr lang="en-US" err="1"/>
              <a:t>RelatedAccounts</a:t>
            </a:r>
            <a:r>
              <a:rPr lang="en-US"/>
              <a:t> instead of Accounts directly. Here's the updated code:</a:t>
            </a:r>
          </a:p>
          <a:p>
            <a:r>
              <a:rPr lang="en-US" sz="2100"/>
              <a:t>5) Modify or Add the logic in the class "</a:t>
            </a:r>
            <a:r>
              <a:rPr lang="en-US" sz="2100" err="1"/>
              <a:t>IAP_CreateAssetAPI</a:t>
            </a:r>
            <a:r>
              <a:rPr lang="en-US" sz="2100"/>
              <a:t>" for the method "</a:t>
            </a:r>
            <a:r>
              <a:rPr lang="en-US" sz="2100" err="1"/>
              <a:t>createAsset</a:t>
            </a:r>
            <a:r>
              <a:rPr lang="en-US" sz="2100"/>
              <a:t>" to read the request body and add a condition to verify the string of </a:t>
            </a:r>
            <a:r>
              <a:rPr lang="en-US" sz="2100" err="1"/>
              <a:t>asset.IAP_Sold_by_dealer__C</a:t>
            </a:r>
            <a:r>
              <a:rPr lang="en-US" sz="2100"/>
              <a:t> = 'Dummy dealer" through a error response back with message ('Dummy Dealer’).</a:t>
            </a:r>
          </a:p>
          <a:p>
            <a:r>
              <a:rPr lang="en-US" sz="2100"/>
              <a:t>6) Modify or Add the logic in the class "</a:t>
            </a:r>
            <a:r>
              <a:rPr lang="en-US" sz="2100" err="1"/>
              <a:t>IAP_CreateAssetAPI</a:t>
            </a:r>
            <a:r>
              <a:rPr lang="en-US" sz="2100"/>
              <a:t>" for the method "</a:t>
            </a:r>
            <a:r>
              <a:rPr lang="en-US" sz="2100" err="1"/>
              <a:t>createAsset</a:t>
            </a:r>
            <a:r>
              <a:rPr lang="en-US" sz="2100"/>
              <a:t>" to read the request body and add a condition to verify the string of </a:t>
            </a:r>
            <a:r>
              <a:rPr lang="en-US" sz="2100" err="1"/>
              <a:t>asset.IAP_Sold_by_dealer__C</a:t>
            </a:r>
            <a:r>
              <a:rPr lang="en-US" sz="2100"/>
              <a:t> = 'Dummy dealer" through a error response back  with message ('Dummy Dealer') and </a:t>
            </a:r>
            <a:r>
              <a:rPr lang="en-US" sz="2100" err="1"/>
              <a:t>inser</a:t>
            </a:r>
            <a:r>
              <a:rPr lang="en-US" sz="2100"/>
              <a:t> the account only if the </a:t>
            </a:r>
            <a:r>
              <a:rPr lang="en-US" sz="2100" err="1"/>
              <a:t>Account.IAP_Country</a:t>
            </a:r>
            <a:r>
              <a:rPr lang="en-US" sz="2100"/>
              <a:t>='Japan' else do not insert the account and contact.</a:t>
            </a:r>
          </a:p>
          <a:p>
            <a:r>
              <a:rPr lang="en-US" sz="2100"/>
              <a:t>7) Create a LWC component and Apex class to generate a custom list view with the following </a:t>
            </a:r>
            <a:r>
              <a:rPr lang="en-US" sz="2100" err="1"/>
              <a:t>fielda</a:t>
            </a:r>
            <a:r>
              <a:rPr lang="en-US" sz="2100"/>
              <a:t> from </a:t>
            </a:r>
            <a:r>
              <a:rPr lang="en-US" sz="2100" err="1"/>
              <a:t>cas</a:t>
            </a:r>
            <a:r>
              <a:rPr lang="en-US" sz="2100"/>
              <a:t> with respect to Asset id  system should show, all the records of the VIN as ' Case History' . Section Field Name Remarks List view Line Items Validation: From 1 . incremental number . Case Number Fetch from case object . Case Status Fetch from case object . Date Opened Fetch from case object Date Closed Fetch from case object Date Reopened Fetch from case object . Subject Fetch from case object . Case Category Fetch from case object . Case Type Fetch from case object</a:t>
            </a:r>
          </a:p>
          <a:p>
            <a:endParaRPr lang="en-US"/>
          </a:p>
          <a:p>
            <a:endParaRPr lang="en-US"/>
          </a:p>
        </p:txBody>
      </p:sp>
      <p:pic>
        <p:nvPicPr>
          <p:cNvPr id="4" name="Picture 3">
            <a:extLst>
              <a:ext uri="{FF2B5EF4-FFF2-40B4-BE49-F238E27FC236}">
                <a16:creationId xmlns:a16="http://schemas.microsoft.com/office/drawing/2014/main" id="{085478BD-DBA6-44DE-44E9-F4331B7EA889}"/>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144320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66999-ACCB-12E2-4028-B637E73DAD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C4B9BC-40F6-5473-2E10-578C1EA8BAE8}"/>
              </a:ext>
            </a:extLst>
          </p:cNvPr>
          <p:cNvSpPr>
            <a:spLocks noGrp="1"/>
          </p:cNvSpPr>
          <p:nvPr>
            <p:ph type="title"/>
          </p:nvPr>
        </p:nvSpPr>
        <p:spPr>
          <a:xfrm>
            <a:off x="3908612" y="50185"/>
            <a:ext cx="5764306" cy="454262"/>
          </a:xfrm>
        </p:spPr>
        <p:txBody>
          <a:bodyPr>
            <a:normAutofit/>
          </a:bodyPr>
          <a:lstStyle/>
          <a:p>
            <a:pPr algn="ctr"/>
            <a:r>
              <a:rPr lang="en-IN" sz="1800"/>
              <a:t>Microsoft copilot</a:t>
            </a:r>
            <a:endParaRPr lang="en-US" sz="1800"/>
          </a:p>
        </p:txBody>
      </p:sp>
      <p:sp>
        <p:nvSpPr>
          <p:cNvPr id="3" name="TextBox 2">
            <a:extLst>
              <a:ext uri="{FF2B5EF4-FFF2-40B4-BE49-F238E27FC236}">
                <a16:creationId xmlns:a16="http://schemas.microsoft.com/office/drawing/2014/main" id="{97498503-689B-6CE5-8FF2-F9CDA1D38F75}"/>
              </a:ext>
            </a:extLst>
          </p:cNvPr>
          <p:cNvSpPr txBox="1"/>
          <p:nvPr/>
        </p:nvSpPr>
        <p:spPr>
          <a:xfrm>
            <a:off x="1001197" y="788907"/>
            <a:ext cx="5480883" cy="95404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IN" sz="1800" b="0" i="0" u="none" strike="noStrike" kern="1200" cap="none" spc="0" normalizeH="0" baseline="0" noProof="0">
                <a:ln>
                  <a:noFill/>
                </a:ln>
                <a:solidFill>
                  <a:prstClr val="black"/>
                </a:solidFill>
                <a:effectLst/>
                <a:uLnTx/>
                <a:uFillTx/>
                <a:latin typeface="Ubuntu"/>
                <a:ea typeface="+mn-ea"/>
                <a:cs typeface="+mn-cs"/>
              </a:rPr>
              <a:t>URL to Use  : </a:t>
            </a:r>
            <a:r>
              <a:rPr lang="en-US">
                <a:hlinkClick r:id="rId2" tooltip="https://copilot.microsoft.com/"/>
              </a:rPr>
              <a:t>https://copilot.microsoft.com/</a:t>
            </a:r>
            <a:br>
              <a:rPr lang="en-US"/>
            </a:br>
            <a:br>
              <a:rPr lang="en-US"/>
            </a:b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pic>
        <p:nvPicPr>
          <p:cNvPr id="5" name="Picture 4">
            <a:extLst>
              <a:ext uri="{FF2B5EF4-FFF2-40B4-BE49-F238E27FC236}">
                <a16:creationId xmlns:a16="http://schemas.microsoft.com/office/drawing/2014/main" id="{5A4AF25A-05E6-62D9-0EF2-73991B19293A}"/>
              </a:ext>
            </a:extLst>
          </p:cNvPr>
          <p:cNvPicPr>
            <a:picLocks noChangeAspect="1"/>
          </p:cNvPicPr>
          <p:nvPr/>
        </p:nvPicPr>
        <p:blipFill>
          <a:blip r:embed="rId3"/>
          <a:stretch>
            <a:fillRect/>
          </a:stretch>
        </p:blipFill>
        <p:spPr>
          <a:xfrm>
            <a:off x="981242" y="1426029"/>
            <a:ext cx="10465087" cy="4913277"/>
          </a:xfrm>
          <a:prstGeom prst="rect">
            <a:avLst/>
          </a:prstGeom>
        </p:spPr>
      </p:pic>
      <p:pic>
        <p:nvPicPr>
          <p:cNvPr id="6" name="Picture 5">
            <a:extLst>
              <a:ext uri="{FF2B5EF4-FFF2-40B4-BE49-F238E27FC236}">
                <a16:creationId xmlns:a16="http://schemas.microsoft.com/office/drawing/2014/main" id="{A284AEB7-8C0C-AC11-C7D0-31FF98BBD1E9}"/>
              </a:ext>
            </a:extLst>
          </p:cNvPr>
          <p:cNvPicPr>
            <a:picLocks noChangeAspect="1"/>
          </p:cNvPicPr>
          <p:nvPr/>
        </p:nvPicPr>
        <p:blipFill>
          <a:blip r:embed="rId4"/>
          <a:stretch>
            <a:fillRect/>
          </a:stretch>
        </p:blipFill>
        <p:spPr>
          <a:xfrm>
            <a:off x="11369664" y="137674"/>
            <a:ext cx="425472" cy="381020"/>
          </a:xfrm>
          <a:prstGeom prst="rect">
            <a:avLst/>
          </a:prstGeom>
        </p:spPr>
      </p:pic>
    </p:spTree>
    <p:extLst>
      <p:ext uri="{BB962C8B-B14F-4D97-AF65-F5344CB8AC3E}">
        <p14:creationId xmlns:p14="http://schemas.microsoft.com/office/powerpoint/2010/main" val="1262337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Grey&quot; id=&quot;435_4&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4&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37.1989&quot; /&gt;&lt;column field=&quot;responsible&quot; label=&quot;Responsible&quot; visible=&quot;1&quot; checked=&quot;1&quot; leftSpacing=&quot;10&quot; rightDistribute=&quot;1&quot; dock=&quot;1&quot; rightSpacing=&quot;137.1989&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6.xml.rels><?xml version="1.0" encoding="UTF-8" standalone="yes"?>
<Relationships xmlns="http://schemas.openxmlformats.org/package/2006/relationships"><Relationship Id="rId1" Type="http://schemas.openxmlformats.org/officeDocument/2006/relationships/image" Target="../media/image33.jpeg"/></Relationships>
</file>

<file path=ppt/theme/theme1.xml><?xml version="1.0" encoding="utf-8"?>
<a:theme xmlns:a="http://schemas.openxmlformats.org/drawingml/2006/main" name="1_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GlobalGroup_V3.potx" id="{B261526D-0EC9-441A-90CA-285DAAE4B035}" vid="{63F816C4-3394-4A76-B8C7-355A6B6A183F}"/>
    </a:ext>
  </a:extLst>
</a:theme>
</file>

<file path=ppt/theme/theme2.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3-v1.potx" id="{FD494643-5CA5-4A4E-8B38-63F4B370A0E2}" vid="{DF26224A-05B9-471C-96D9-61DD4C0AE63C}"/>
    </a:ext>
  </a:extLst>
</a:theme>
</file>

<file path=ppt/theme/theme3.xml><?xml version="1.0" encoding="utf-8"?>
<a:theme xmlns:a="http://schemas.openxmlformats.org/drawingml/2006/main" name="1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3-v1.potx" id="{FD494643-5CA5-4A4E-8B38-63F4B370A0E2}" vid="{DF26224A-05B9-471C-96D9-61DD4C0AE63C}"/>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5.xml><?xml version="1.0" encoding="utf-8"?>
<a:theme xmlns:a="http://schemas.openxmlformats.org/drawingml/2006/main" name="Capgemini Invent Global 2022">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6.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7.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7f3d42c-ae31-4685-a8c5-7226a79760c4" xsi:nil="true"/>
    <lcf76f155ced4ddcb4097134ff3c332f xmlns="039dd558-f6f3-4ca8-b614-934a562590e0">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1BAF4A8767874CB959180782B28497" ma:contentTypeVersion="18" ma:contentTypeDescription="Create a new document." ma:contentTypeScope="" ma:versionID="561665ed3c77246b9cb1c1ceddd4e8b5">
  <xsd:schema xmlns:xsd="http://www.w3.org/2001/XMLSchema" xmlns:xs="http://www.w3.org/2001/XMLSchema" xmlns:p="http://schemas.microsoft.com/office/2006/metadata/properties" xmlns:ns2="039dd558-f6f3-4ca8-b614-934a562590e0" xmlns:ns3="97f3d42c-ae31-4685-a8c5-7226a79760c4" targetNamespace="http://schemas.microsoft.com/office/2006/metadata/properties" ma:root="true" ma:fieldsID="ad9cdda5c8c1abc4f581e76ea4c54429" ns2:_="" ns3:_="">
    <xsd:import namespace="039dd558-f6f3-4ca8-b614-934a562590e0"/>
    <xsd:import namespace="97f3d42c-ae31-4685-a8c5-7226a79760c4"/>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ObjectDetectorVersions" minOccurs="0"/>
                <xsd:element ref="ns2:MediaServiceSearchProperties" minOccurs="0"/>
                <xsd:element ref="ns2:lcf76f155ced4ddcb4097134ff3c332f" minOccurs="0"/>
                <xsd:element ref="ns3:TaxCatchAll"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9dd558-f6f3-4ca8-b614-934a562590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f3d42c-ae31-4685-a8c5-7226a79760c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539de8b2-0878-449e-a669-3817ef471566}" ma:internalName="TaxCatchAll" ma:showField="CatchAllData" ma:web="97f3d42c-ae31-4685-a8c5-7226a79760c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AF1F47-2CE0-4188-B633-85B777435B90}">
  <ds:schemaRefs>
    <ds:schemaRef ds:uri="http://schemas.microsoft.com/sharepoint/v3/contenttype/forms"/>
  </ds:schemaRefs>
</ds:datastoreItem>
</file>

<file path=customXml/itemProps2.xml><?xml version="1.0" encoding="utf-8"?>
<ds:datastoreItem xmlns:ds="http://schemas.openxmlformats.org/officeDocument/2006/customXml" ds:itemID="{35CF69BC-1C58-4993-9117-885E0FE4F0CC}">
  <ds:schemaRefs>
    <ds:schemaRef ds:uri="http://schemas.openxmlformats.org/package/2006/metadata/core-properties"/>
    <ds:schemaRef ds:uri="http://www.w3.org/XML/1998/namespace"/>
    <ds:schemaRef ds:uri="http://purl.org/dc/terms/"/>
    <ds:schemaRef ds:uri="http://schemas.microsoft.com/office/2006/documentManagement/types"/>
    <ds:schemaRef ds:uri="http://purl.org/dc/elements/1.1/"/>
    <ds:schemaRef ds:uri="http://schemas.microsoft.com/office/infopath/2007/PartnerControls"/>
    <ds:schemaRef ds:uri="97f3d42c-ae31-4685-a8c5-7226a79760c4"/>
    <ds:schemaRef ds:uri="039dd558-f6f3-4ca8-b614-934a562590e0"/>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6F6EC0F9-5C4A-4E62-BADC-A5D9208287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9dd558-f6f3-4ca8-b614-934a562590e0"/>
    <ds:schemaRef ds:uri="97f3d42c-ae31-4685-a8c5-7226a79760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GlobalGroup_V3</Template>
  <TotalTime>0</TotalTime>
  <Words>3913</Words>
  <Application>Microsoft Office PowerPoint</Application>
  <PresentationFormat>Widescreen</PresentationFormat>
  <Paragraphs>320</Paragraphs>
  <Slides>21</Slides>
  <Notes>1</Notes>
  <HiddenSlides>3</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21</vt:i4>
      </vt:variant>
    </vt:vector>
  </HeadingPairs>
  <TitlesOfParts>
    <vt:vector size="42" baseType="lpstr">
      <vt:lpstr>Calibri</vt:lpstr>
      <vt:lpstr>Ubuntu</vt:lpstr>
      <vt:lpstr>Verdana</vt:lpstr>
      <vt:lpstr>ITC Avant Garde</vt:lpstr>
      <vt:lpstr>Calibri Light</vt:lpstr>
      <vt:lpstr>Tw Cen MT</vt:lpstr>
      <vt:lpstr>Tw Cen MT Condensed</vt:lpstr>
      <vt:lpstr>Microsoft Sans Serif</vt:lpstr>
      <vt:lpstr>Salesforce Sans</vt:lpstr>
      <vt:lpstr>Ubuntu Medium</vt:lpstr>
      <vt:lpstr>Arial</vt:lpstr>
      <vt:lpstr>Wingdings 3</vt:lpstr>
      <vt:lpstr>Ubuntu Light</vt:lpstr>
      <vt:lpstr>Wingdings</vt:lpstr>
      <vt:lpstr>1_Capgemini_2024</vt:lpstr>
      <vt:lpstr>Capgemini2021</vt:lpstr>
      <vt:lpstr>1_Capgemini2021</vt:lpstr>
      <vt:lpstr>1_Capgemini Master 2021</vt:lpstr>
      <vt:lpstr>Capgemini Invent Global 2022</vt:lpstr>
      <vt:lpstr>Integral</vt:lpstr>
      <vt:lpstr>think-cell Slide</vt:lpstr>
      <vt:lpstr>PowerPoint Presentation</vt:lpstr>
      <vt:lpstr>PowerPoint Presentation</vt:lpstr>
      <vt:lpstr>PowerPoint Presentation</vt:lpstr>
      <vt:lpstr>PowerPoint Presentation</vt:lpstr>
      <vt:lpstr>PowerPoint Presentation</vt:lpstr>
      <vt:lpstr>Prompt Library</vt:lpstr>
      <vt:lpstr>Prompt Library</vt:lpstr>
      <vt:lpstr>Prompt Library for Salesforce</vt:lpstr>
      <vt:lpstr>Microsoft copilot</vt:lpstr>
      <vt:lpstr>Microsoft copilot</vt:lpstr>
      <vt:lpstr> Test case design for Validation rule - prompt </vt:lpstr>
      <vt:lpstr> Test case design for Validation rule – Prompt results </vt:lpstr>
      <vt:lpstr> Test case design for SHARING RULE - prompt </vt:lpstr>
      <vt:lpstr> Test case design for SHARING rule – Prompt results </vt:lpstr>
      <vt:lpstr> Test case design for WORKFLOW - prompt </vt:lpstr>
      <vt:lpstr> Test case design for WORKFLOW – Prompt results </vt:lpstr>
      <vt:lpstr>Points to BE note when ms copilot using </vt:lpstr>
      <vt:lpstr>Current Journey FLOW of technical support team : Gen AI for CX Foundry</vt:lpstr>
      <vt:lpstr>Enhancing Productivity Through Intelligent Application Support</vt:lpstr>
      <vt:lpstr>About Capgemini</vt:lpstr>
      <vt:lpstr>PRODUCTIVITY GAIN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Group Template</dc:title>
  <dc:subject/>
  <dc:creator>Capgemini;gaganvasant.naik@capgemini.com;gourav.bhardwaj@capgemini.com;pradeep.ponnathota@capgemini.com;bibin.viyyath@capgemini.com;matthew.evans@capgemini.com;rajesh.guthula@capgemini.com</dc:creator>
  <cp:lastModifiedBy>Padayachi, Prabhu</cp:lastModifiedBy>
  <cp:revision>3</cp:revision>
  <cp:lastPrinted>1999-12-31T18:30:00Z</cp:lastPrinted>
  <dcterms:created xsi:type="dcterms:W3CDTF">2024-09-26T11:17:08Z</dcterms:created>
  <dcterms:modified xsi:type="dcterms:W3CDTF">2025-06-25T15:4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1BAF4A8767874CB959180782B28497</vt:lpwstr>
  </property>
  <property fmtid="{D5CDD505-2E9C-101B-9397-08002B2CF9AE}" pid="3" name="MediaServiceImageTags">
    <vt:lpwstr/>
  </property>
</Properties>
</file>